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380" r:id="rId2"/>
    <p:sldId id="406" r:id="rId3"/>
    <p:sldId id="407" r:id="rId4"/>
    <p:sldId id="408" r:id="rId5"/>
    <p:sldId id="384" r:id="rId6"/>
    <p:sldId id="400" r:id="rId7"/>
    <p:sldId id="401" r:id="rId8"/>
    <p:sldId id="402" r:id="rId9"/>
    <p:sldId id="404" r:id="rId10"/>
    <p:sldId id="409" r:id="rId11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DEECFF"/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85" autoAdjust="0"/>
    <p:restoredTop sz="99410" autoAdjust="0"/>
  </p:normalViewPr>
  <p:slideViewPr>
    <p:cSldViewPr>
      <p:cViewPr varScale="1">
        <p:scale>
          <a:sx n="116" d="100"/>
          <a:sy n="116" d="100"/>
        </p:scale>
        <p:origin x="1272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5/1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0430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5" y="1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5/1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69" tIns="47533" rIns="95069" bIns="475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6"/>
            <a:ext cx="5618480" cy="4189095"/>
          </a:xfrm>
          <a:prstGeom prst="rect">
            <a:avLst/>
          </a:prstGeom>
        </p:spPr>
        <p:txBody>
          <a:bodyPr vert="horz" lIns="95069" tIns="47533" rIns="95069" bIns="4753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3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5" y="8842033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897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30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813300" y="5843586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249453" y="2362200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96875" y="218968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01" y="152400"/>
            <a:ext cx="7454799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61980" y="1295400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572000" y="1298106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1927" y="15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01" y="152400"/>
            <a:ext cx="7454799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126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9840243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1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</p:spTree>
    <p:extLst>
      <p:ext uri="{BB962C8B-B14F-4D97-AF65-F5344CB8AC3E}">
        <p14:creationId xmlns:p14="http://schemas.microsoft.com/office/powerpoint/2010/main" val="3911312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4" r:id="rId6"/>
    <p:sldLayoutId id="2147483675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105656"/>
            <a:ext cx="7751547" cy="466344"/>
          </a:xfrm>
        </p:spPr>
        <p:txBody>
          <a:bodyPr/>
          <a:lstStyle/>
          <a:p>
            <a:r>
              <a:rPr lang="en-US" sz="2800" dirty="0" smtClean="0"/>
              <a:t>Refunding of 2017A Direct Purchase</a:t>
            </a:r>
            <a:endParaRPr lang="en-US" sz="280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143000" y="4604658"/>
            <a:ext cx="7010400" cy="500742"/>
          </a:xfrm>
        </p:spPr>
        <p:txBody>
          <a:bodyPr/>
          <a:lstStyle/>
          <a:p>
            <a:r>
              <a:rPr lang="en-US" sz="2200" dirty="0" smtClean="0"/>
              <a:t>May 14, 2018</a:t>
            </a:r>
            <a:endParaRPr lang="en-US" sz="2200" dirty="0"/>
          </a:p>
        </p:txBody>
      </p:sp>
      <p:sp>
        <p:nvSpPr>
          <p:cNvPr id="3" name="Rectangle 2"/>
          <p:cNvSpPr/>
          <p:nvPr/>
        </p:nvSpPr>
        <p:spPr>
          <a:xfrm>
            <a:off x="3075673" y="6516358"/>
            <a:ext cx="2971800" cy="24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</a:rPr>
              <a:t>Draft for Discussion &amp; Policy Purposes Only </a:t>
            </a:r>
            <a:endParaRPr lang="en-US" sz="1000" dirty="0"/>
          </a:p>
        </p:txBody>
      </p:sp>
      <p:pic>
        <p:nvPicPr>
          <p:cNvPr id="1026" name="irc_mi" descr="Image result for pfm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5755095"/>
            <a:ext cx="1720582" cy="773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quest for Recommendation and Vote</a:t>
            </a:r>
          </a:p>
        </p:txBody>
      </p:sp>
      <p:sp>
        <p:nvSpPr>
          <p:cNvPr id="3" name="Rectangle 2"/>
          <p:cNvSpPr/>
          <p:nvPr/>
        </p:nvSpPr>
        <p:spPr>
          <a:xfrm>
            <a:off x="457200" y="1066800"/>
            <a:ext cx="8077200" cy="374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5000"/>
              </a:lnSpc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MCB recommends and MassDOT approves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lnSpc>
                <a:spcPct val="135000"/>
              </a:lnSpc>
            </a:pPr>
            <a:endParaRPr lang="en-US" sz="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refunding of 2017A Sales Tax Bonds by issuing Variable Rate Demand </a:t>
            </a:r>
            <a:r>
              <a:rPr lang="en-US" sz="16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nds</a:t>
            </a: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ecution and delivery of one or more supplemental trust agreements or amendments to existing supplemental trust agreements deemed advisable by an Authorized </a:t>
            </a:r>
            <a:r>
              <a:rPr lang="en-US" sz="16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ficer</a:t>
            </a: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d that the aggregate principal amount of Senior Sales Tax Bonds so converted will not exceed </a:t>
            </a:r>
            <a:r>
              <a:rPr lang="en-US" sz="16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$215,000,000</a:t>
            </a:r>
            <a:endParaRPr lang="en-US" sz="1600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sz="8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35000"/>
              </a:lnSpc>
              <a:spcBef>
                <a:spcPts val="0"/>
              </a:spcBef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thorizes Chief Administrator, Chief Financial Officer, Acting Treasurer, General Counsel, as necessary, to effectuate the transactions </a:t>
            </a:r>
          </a:p>
        </p:txBody>
      </p:sp>
    </p:spTree>
    <p:extLst>
      <p:ext uri="{BB962C8B-B14F-4D97-AF65-F5344CB8AC3E}">
        <p14:creationId xmlns:p14="http://schemas.microsoft.com/office/powerpoint/2010/main" val="16995561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381000" y="2194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 smtClean="0"/>
              <a:t>Current Debt Portfolio</a:t>
            </a:r>
          </a:p>
        </p:txBody>
      </p:sp>
      <p:sp>
        <p:nvSpPr>
          <p:cNvPr id="2" name="Rectangle 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hRL8O4GLkjAm7CAK+FYXJzxiWaBsup2A26ZJTxGAHu70iZx1qWLITMKA9q9kDeVqL3Yw+PLKIklOozQmJGk9WXgUhn5aRAOv6C6LkRFoPYF76u8M94cfjm3VVRPg6ukZg3xR0k168PeTsOoUXSenOKAO3z5T/a55eOLN3FxZyjmrHD4U0DHzwWvgNIk8JBQde4JAPwEdYcqRUyx9io15ounJQFo92YW742Am89Us1T6iDyXUswhUp8AaO8oQupLY1Ul7QuuzxKEefYfhO6lVaSehfmNs3jIXOieMxzORvYvvvZL21febv6CoLClnNzI/7D0+uWYIBuRoKvGfTFyTuvHRvzz3BgSy0JgkQtECTOO88Ju/YS2y1awsPd1gK02WLYEjbm3KXpS2uzk87igSRd9saKD9hVF2wsaFJK7R4YXWAoKv59RxdmX0bSh1SIdF+KTiFPvDlr0uPBf1JXI5P0Untrwh2zG2cQVVMO28xNtqt4nJ4/7x9KV/7ZAQkhACCMoLtRadKT+ygSDZqzFRNkhzPy4EFO9EyKHGiSn7JRfFS2g+keEFtMYwoAfHHgshcY2rgLB2+Y/bMfgXByZKPvcmRt4M3N+RcXMba0YnXxeQ+oqlWtfp66GT+YjDFXI4lBDY6LfqE2tRbPqlHAF2L/ATijScZ5f8oy6Ot+TfoWwWfRi7R/MJKXtzq/R7NuOG8ARQT/mx4cawviDLB7lilp9LstUPlxXJQaze3Z6/PObfCvD31Y0T7NUTxtdNSilGt/ZqAr+qCoAS/Rg90Jt+lInSs633vQYTbUDVioDKygSg1TBhG3zM6YzkSlV1JDNrl9YRskS7pCRDKw6Rf8IOmAkuHeOHY6c+m8Q8fQMwdwtk84DW4AaEspY2hGmoOnAZ6N2BJa3myHD4ZvHZl+R6UEWekJ6Xzu9Y/UYb9eDeXC+J7wHGiKsqDGUBiW1zNST7RCSY6dr7KAtfUcCii30+d+VVpR4mT/WCvmnwpwsHBLT3tJXY2ihLvlJ6dzSqzOV2iHH7kisv0SxRebNvc8OnCGSc5wMpr9fJzmGmuBwifZPI1IZcfeKpmX29eYyv/Bqf+wK3qBI1HPD+fs2hGumsu8NojYTs386S7XhR02vLFRNIuR+QU7B6nbKvZGyoO6kqmLpkFiiDFJZSw3onBjIP4L4tgp0EWnudnrWC/yVTk6kM5zBlqAlDpwn6IVgK+d7DICUsovNchu58QnQqJG8QibEnY5BDEHNW+s26/JA+VI20VZRhHTiAh5GLbbZh7L2AM5BnMW+6Jit76fvp9PY9KW6rPoxCbbqKvsQ05m8GftUwCxDTkPcMtS6elCrV5ceLxcH+6uOLEc10yZQ74R/rlv4OYWmGJMUYywz8NQWF7l8c37CTxeH70qabfA5yijatwrb1S19Fyme+sbX6RhnFvjEJq31lM4WnmdYsf2yqRVbUFz9TCYBiC3Z3+iUfTmNYUQxy+k5jVbdpMBsfCO7EmcZy5Djyy2+4DpdyeurzjIYryvsumzBlwG1l/swnHr9qOh6QqncnfubNyn4SRDJyLqbu6RCusJw7PzZNI9xE3S5CQR6gUJ8XqBn4KMg2qTgWP0YHBUTHj96q+YKFEDZCX9NFf4GPqRXfiw1VnIgqpOzEhX2JHtXYUhonf0VYEeQ/w8R6dq7L+8jPn/UMWBkYqpjjsHtEExEmmxFTaHdEqWkrf4UwMTojLMzAUSINCt2psqIsVvxbH7xavsDCWWe9HatZeHQdO6Rt3sdi0h37ruGzjOwcont+zoF1UhGt5N+nL/XamWGe5ltnVLwQyeRm3s9Cgx1ZPOnpImuSg1SeYodTZ5Fibisbc3K3hP8MLQ19ng9h6vIU3CNRAPozdkpMWI9pq+sbllPJ/EQZetWOi/+j7odcO6ru0cFaM2lTqUs6KBI0Gzy57WtAdhSyrGRobRD+mO6idVTQgeAjj8qh3dS0UUncxqBS/C5C6kO2g6r1f1PgU9mHgAsrNA6oUALCeJNG5LeiSSkpHNrKa0RAG0gN+3QfxkSmep1Ug4eD6tCd2uTaqaJDfKxUMFTHenAx5UluHiongp2hP2bPnLH38c51OJpGrt7SwyrNpbR8YQgl22Rne2erG3Ayhb3t4gTN0B9cVIuoxP6iWanPiS4qZyIwrj6AWtygPUiWPuG5Lj+cDF1Yew6E9X1XwvNMUJ3uYNZbmR5S704+I3PI1SMzS0/wWhcM0qIdm7iG2fEWRTBZDnw0ikDkeK1dPqIXDCKPE9CRz/ipK6UTyVEODPFsXbPejRjlLjJe2J2EkhoaMPlIfBNAw3K5YPPC28651Y0aseeh0cBfGIZWBL/5+IZD8CAmiXR7R/2R6MbSl5ngswuadyq4bmjK/9cjNHAZEKefh1CK1URvW4mBEUzDUUuIRvCgfKGRmzr8OxbHdD+iYMLAAmNhGeKr1zHTHlpRJP6Bt0jwmVq86vBy+Goja1rxwjM1ML2LqxTkiZSZp01T+GYi+Cxk0fZTaNui6Tu/Dr2HZPMETEhfqhlMcYw6v4BfjxiHrM6QTjx1l/rXzJmqHz6Q12riTbniFj2vqjKfgIpXhAsh9Ti+H3x0DM7+ZQI58E40XFkuufBeR3XVoGDasBTSbQ9shL1wBh6dy2xqamtIkyJhMO6MF2qsHVEnyELZVjpzTsPpQyYfNGn43qkAykmewO9xHUTsAfVqstV0fGcZS4xBBua7MDL5fWfHQMlYs8l5oycfVEUGKdybWkeTeBtkunoZGjIWFnFx0b0QsAa99wi1GBNdhsCHC7hSxtug+2TWNmvRGExMF1ET9x8ffiU9wHI6MXYXvVNrwdP89P5YzwLsxVVJeCVJgbbEbsfN/blV9fuOKXdw48SOmXRZRCMWQUoQAMZFz4ZO8oO477tC2oXqGCF1+bli8iwLS/JIb6B8KcgbdH2U1cEkISiGY/cETjC9JjHo1IdjqtJ0wM2wlykyceCJfYFgb8n26o8sKQs1B0wBXszhC3+XQJ8GhaBC52eiuElO9OH7/CNvC2U3r/IRxR5RKAYKLGQ8qrqI0bqRkTtUti/iPMv3N5oacdbsBzIjtOv0ELb4Xk+ISlo9r3LXpzXqGp9u+cAdceP4cQx6C6trrJd+Hc6EVqab7+UWF7yd7vV0Cu5+1lc9eA44WP8Ni2uozSgIjSLJa3aOCtSmGbS+XqKj/jG4DeJ/MHjoia939sa4NcF4lWidr45UERW27zTarP5I0x2+1xPlE7uqenxIQESEg7HIN5uzjmTYEQbss7RCfu9okpbeaAwihXv7Z5PSGgttwfHVjYKhslRq6t0JBq7Ayhw8UwSs5GnGgpz5MI4eDAnq+cJsaiNfWQXp5lnaF1TTijwvlHVhK1nmA0CBxzsaqwFT5LlcGM6/79vto/aKomFQdGf4Y2iRzAwJ//beDaaUss+UyBxLjxnw/NBoHDXcAMqT9Aw/lQf77/gX0EfwXrYtl0p97gAJY4tvOw4/c/mDfIXGih+t35x4PDHIq06REz6hHze+SU4uk6VN7MVjMvNbs6o0aHO+s7br6j7H1WAeRp+MWOIKmvkCvmhtR5toWJeadBqArVLmoq2ZhaVB2bRaCw4aQsmR4ZJvcO5YX7CRkezE1tRvojXWFHm1jvTjVuMRC4Oco5QuvmtuShJ4jb7i62Z/bvK7UCnJXZnAEJtcPteTvq8sAm7nZHH3/XPWBBxQvQr2HdCs8L0JJ8AhDQBfrxt8cF/1raKsRy+XHQfJujYt1qCOXD34vh9PGQ62CGdm+o4XCCm+zQ4unbKsMquyeALns4N7nT6Fc5aaDddJzCwg5GZjv1fhmanO2tmx7EwoBNp2vksbVYeUlLOdcbuMv54wZHd8XOpcV+4+ViLUhZ0uUTUH1t1SmFINCoj2YYPR/UaDCOuW5v7wXruqkLzpkO6QiGqnILKjkDube8ps2H4M4teQo3GMo/r/XAUm1qx8Q51hwBYli9hvL3xzoZPnp9Mjc94QhK5Zc/brBQs+fQ2BL0FnvPTFqLObSiS8Yu521z43vFAsRyiv8tthfHyW/ztn7IUk2ZodhZZb6AsvBjDbVIBxyU1+LU5N1RFVa3QCSlHUkxAoxwHJ7BQqMheErQXjEmrEReO/uiLSoVKKIwCF6msI0qhE1zVakHBagvO+YWtRwTn3YXI8WpBhpQluHqlBswQS0MDxPv5ak1q9WFe+zONC7D8ZxS6OoHp4iIHJUHqd3oP1E4fYqD+Pt0935Fu591C46ngqBs2Xw/DZexsOxwmxW2XJMsR3chV8cf43yRpaiYw1NUlfNFbujkrM8/BTRYrL9ufjHmR30YH+h9LYteYrNFzf4pTJH8+MPOYjqeUC4FIDI2VgPo5RgOMbfGLshu+Mml8iK2B18jdXIwzq/iUZ6h3l5XjtvQJqFT4+k5P+sagoTCI0+/gJp8jWhXe2I+6nJi26BdGwjQ8a5FYoRidspLgnmXrXo/4A9b55vvwAcGt9B0TZfBH1Qi6xzFQd8KxVNJAswnq1+H+tdyOBhskCHhCcUFwAJS21EhaCboQH/i2nK4xeM03jHtTL62f10KLvhY2kkLo3t8ikQpvBV7BCahcvh5HWoW2OZcLgCmmNql+Ki3XZ0QR7aJl7G3CPlxXjnacPvcAJttk79SfQ6rMsAByIKkzMldE5TS2GF2lsN3fivYWq8p3NxNZ1Vn84lDCYtvEIRayjAqY1Kr2pXtT3dJ8rAW7vCdGZwSrkKYGwqYNFPB/PchjWPLZLMmm9izaORRAeAMPM7sJYaLyOiCRmWln+ozvi6RivS/4r4NMp3I7wPw1Ix+Cv1oxzE8ljJXenhEY/iAsQdYxMrqGYYjgqWkpyUywmKkL82isfDVRUicyslBqv2toyff/wvJECFGOBMESNbpq7ggo+ehfgL7NSvAoBa6ysHyw66RwM03dP2BjMNCG+cPt0LgEqL/X6mVZ0PHsqbD6Un+60MZDIeaXT0b5pMsTJKb6frbkBJm/0se0R02e4kWbKiWyTRm5SZsZi3/qsAITJ9Q7bl+LN76RvF64ycn2jo5LurGdRn/grEksys1wlCisu8aBqdnTepbaftebAqB94/2kaoPfQEJSmN3fTKLf3l1RwJ6+N0Th0fhjp1+jmfRlbmvjnOmsDHvMD+lStJWNLNm1OLyHMozy3tWFGt3mn4VMNECHY5QRlKzJ7MSgJJUHz89VeAPUN0RNslJaMHhz6Bozxn1bqj2Sg/tSacUTC1MjoRtx1z+dBZrhDixuLBp+odEnMSMG4DQus+viy6wGr/z83p9keTwycs9EEugdpGiqZNiUYlY0ryuAsgEQBMO/4Ni59W84WQn93eeTGU77FzFAd6asdKEMLkp+kEi1Q139HoXyrEEr/INNO9OquJ0THOdWIaYhQZCf+SI90jW6L0Ay2u/8o784gNVKWNq4flFlcwS6CkV68tLXtpFp1XvGLITdI4d6F4r4u9GIDYUIlQ5nXo9RUOolZIbNv3CqMMrlwIpnDu58TMYteVwiAptjReVfOwr1TVDAIClVIIyGpkqrnDELpFHEsbx28QBLd/OJcHBqEl8I04ChDgZv+cpSwk4EmHe3M+dc96uDmOUiudrnXimKAHWkqBKAnn8bQ14pJV7KPO3v37RnAfbnqUCJD1YNtfhxTiRy6+wW/UZZvPMaC6XUhZAqJbYfmhXtca/ZBQwK8jAgjYU1p69LVYU5uHwLsA9ylGj4HiPqX+3SBxWsztBD4g1xTM3OB4D3BUsxvUPUcQS3+Z1Vuy4KmeKbfex9dLYb7NwqCIS9yVOTA5y4uMvlV0UrfYJotAwLEr6zwqh8JMX85xpGi6e/nrn6qFGAzV9u6BuOsJraMVjE8zMziJrCY39g9Bvw0BG5rqaTPgSIPNizMKpzPMZ4aTxS8JIiPQ77+YA+q6KJXhf0fMJIwy5h5N2GpMG360oGWBEBoI4RfetwLXnMImnfY6OSzAqywpWXh7xkLDnHCF9KNfB8PH4lCjN/6ZVrlL5njvvwTdXBZ19Ab/ged2C0AVkJW9PMYo8Kq/Adlx7E2TveqptDHLx5IoR5zrkqUsvPlvwS7Cexsv/qVFNSQK+rrg/0TavhYBO6AwtFC1lQgg6+cyXEc4rTPcB3BnYoDqU8mBwhozaxa4EucP94i35TyAcYfp09QeNSaYncgmwPRpxxoPhIZAlEeE4KDOwMQeLPkfEvfxpVuidzAz9wPSapmW4EG92F0X9VhcyEXPYOvTqS8/5hwxFltPhaOoUIwDxLpwdVk36tO9eSSS3LAXp0QMyP5Lg7F4vrd7XMOsjFOKvuvqG2GuReJpte6S3r14hJV3OY9ZDED0F9mQ3rYzVtRWiId17ux8HZp6CfpRjmmY9ogo3jciZ5yXVkiIoMd1VZs0BgJdL1yzf4twLpuJtBZDYBOvucbKvmwK+6+TWVhZ8uv92LSFw4IxmX35SGM/MS65sVaoef6KBNsMNYBH/l2zgML65yUVuumGp1DQ3Lonxk96obClPCfCRWTHBm49+TKMwcQ1lH+vNeSefHSpaarn2jS7fcbCZ1EnfaRksuxd21XOG+C1CgvE98e/uqzxfLKN0VlnFFADDpECbsDCIRZZxbRBMsnXXTfGinr2agS27+TRe0iAgAObWOfvC4UTH8nbzMRgaFVRJRRRISgF3uen7Mto2I3nPEu8rQhe4LsXP+1RfOECm9PdfmiAHwaH9jqePxU3sUJYwwvh51fq8RRPYmxF0MVegVv1LRhpM3+ctiGet3U6bXTdSTJxmBHoX6qwOZFnkvOeKiKnxzNP40NJjvT3FS0De223Ug6LxulNDbxVepFM5ehJqWEGfJcz35LHsp0/KG9V1HiV9PfvSIuP/81XCUhFv3BnFDVTAPxow70277ruwFHu25a5xZQwz64z8HHpiPPtsKCC4nfMukAcyecF40NYwWQPrYOrsFDJxlzAzLEOmWQyBZYZPyeJjSoI3j9EAtsBhGLy5pB8KJefEHIRuN6lPSrIg/xz3EbW150Fjz4uDygbrDjP4PvG9toPEC6DvFXowlNkzrv4f49M+zhJsrUVpaIFibtJ/m+JjPOo0DoiG3uZM10gfeF5meVn6WChOQyqc/dr+Fnzz4YdDt49QbK2bBU24DB+Qt26YFbIaCnQXYmz2/wTRgHNK7zQX3cG2N1pSbqTiZFgbCHdpgvZn9I6PWjC+Ox4x+8k8V11e9tmZcJ4FUuv9UCudAdgF3W7ue9AEcm0LIhGfiweVg5DUacbGDvQZFOt/leXRDfELN+RMYS29Dv56qx4lf6fijJ3FgtIGZZcoKwqNEdi+oHDWsTuOhm23tRbMGF3y2Ixi60tJtaazLY5WyZTxmnET+aqHuj+0XHyrj/SNfNM91XAWMAngybZZp0P0qFmD2a2q0XWQpFYyB1/n9lf29th3Z9kzmKHFEp2A2tqMx+RqiYFTCsBIgbj/aroDXNEJKN03OgntO5Y7dUxmwMDXD+L2DCsrvJBLgbIjXL/x+RbIOiRSirqeIYcmp80fwr7Lb+FBNJICrbvVJe0GfaV1R/3rftQR2fTapPG0J4OrLsakAjXmA2vGVIRrjWAcwivuw8HT16RMPmMrHegYqXhPbMgsGUux2+LaJWTu/48EJxCdyKp72We1v8h3FF/Wg8zIkdI6a/utgjop31W5zM+A9Lejv5li6SJBGuK1ncs07gmBHa7Q4KZThP7RUm5EkzuRCRD2VKQxy4TU3/zId2oksZ6PgAlJH7mZOTsEo03zirH0y8rYUanG823cAHjw070XbrTWSkTHNIg7KP/3LrEtfuDdBAxYR7fwNFm3zsp3VKcBUw7k4F6y/3Q9MtYkfBy3/RqPEEESz31EdcbnZ70RT9ZZg4uFeb/GP6iMfVETDXdZkAs9IO1RSreulMdipxnOOkJT/Wrq4OH0qhIXwUls7XzK03C6ya2+fX3be1q/KGvZrgIsl4Na00LyxIyRW423eABPSBoOQDqkvbBN1UnAnFfeQKLn/5anKSvbs+xkpU5AWz+NgR3oxaofgeZKuLCxh9APqxA/k5znUp/0AMUnHKbBw31Y4nJS0ayE67DSyfRgUb4zzFjnN5QGXkBhAUoANnb94gdERmuXJSwTdTEdb6wzCZ+MZwVuP/8uBne6c1n9G0ntvv+bTvAqEtH7FF58XOz8G49jgswgpT7shemObRE7w59/phWCP0ljHJri0fn74b3QHfdqv5dSmv7yV5erbvst8WYQ1FBA+wQAKnQeHFNcRy1fbDt4kYo5l2t+dHVJj8aelGURaLdJJ9YlHwlOA99+kX+vArdyt2wGHEAK0onAgK4E+c4s/kw/WUk31zqP49BYc+3L5skj5GrdITrVxRMdxwldrFRDkWKKGcykPQ1ijtp20yDLwFa6nVWuJ3Mh0GNeCjtBrzvixpSZFCzkHI85rWDDxDlpII4F9PePMU6094l++x1lPG8JLtzRzN4ksaRNTI5jH/eZ2i8EEhj/5ILpvGcuQ4ocZLm6SfaNclsSA17T7GKpmZsbfYaafu6tG182+RPw8qvSWjbBcINI1okwSLVuuK+lmSw1Uhxcnq7GmHD6sUoR6LC3zdeiYo2e8n2Cl9ps7WtkRbgnYYpHQknntKfo5FgkzW1SgxQHjOw5o8dVVcL/+33woQRfDRCWngU+y9eAN7IynLew9MBwm3jTbd576VJfX+lF4ODiiJIi9wuShV6cvH4S6tc5HSaEYddw/fyWiYwlyqEqGl4cF+v/oUrSha7PjflYmaAHQ4FD4usqB75uX7M7gpPUgsokgg4emxNsqPxB3ua8utL1dXpJDxrilB6a4S2Mc7UVY75toaoUW0TNNY6CzE2hR2T35DRr0VhUE8+OcWreH7RJisWzN3BuCm4EwkihrsHmpnihDByz/ZVv9dVI6HWDcXao4jztjftDcdrCJ3aL7HNZIpVS0SLwIJL/ToVZy36EJHfQ+twelwjLSWtLOCdnh+6OY7xAyhZT0tkcl+5AS1lHHlDPvgKtOyZP2UTem+U97RKqvJm2KKJMLZYJMswYK2kDQno6rovvCFDrvcRtC2sKS+pFlzawnmUf8eW7CRllUQN04HfdCnRjAYeFtPUO5GMATYhxJuXF3IXXze3v301/axF8mLg+7mRs43DqXuwumexSU60rbcjp3uMzGprmY5gl7m5UNHMOnTLz5YdFDqoSWnRjcMdpf94MewcyXL9nwVdyfLmYT86IfqQx8iu4glIe6GxCCCdB8eKXNDILp1lCgr9189XeDJnNcvrYAlIhd7CWvgMcvB+jG9u15YbD3F65M4PdNswMuDiWJUZwUPe7ZSXuaArXjOddXgfgxgJxMsBw31U274PY9ez6IL/IZs/0pGQCHHD9nCNZ7uUUtMROd+Pi/DwgY+pwiYfPpw/gxHKsFtvMeK0QiDRZiGrHmA96TRk53DNTEBNISTRLpXhOHTcpbaumH5rQ0sXJMPVF+OlFYEdHyN4Vqjx6jG+mOp6Q/fj1mFRqt++pmRu6Rmyr6pldWcfkiWyBvrDL6ye7Wb8V2iGnoMOnPBo1YYKyqhl/b2AdHccJPhTeWYWyyKyOIgqRNAbbcVnAjqGO4hDcfftXlPHi1Uewn+vEKt04wfE8wCm6UmOgIv3Mn4qjuizKSqilQl0EbVdwhtFzZ+FnzT1FVbEQQD6okqnTpULvKK9rvIRoS2R1EQLF2bvm8FxtXxO/vvpdoARjoHESnwgvaxyMkhoiABBVKHWtqBZ3kb8FOTtf8mGeENGJEU7v0f4HsgDzoYjAVdW1+zca2p5nK6jsGLr+ErAPSBemdtz4OWe7eADlJUoHKQtwQYp2f4C4CNZPRU/Q0HLbxBDNf18B2zJnStCCJIku5+4k6bCZqiloIVdXMIhlBZ1HtcrUCucUsxVt//mrWUeLHNAar9xaUrrVE4JlDUDzWr6nRPFcSPxNxkM1fxZGMc5GtB/UkYFyYsdBwUk3ikuBZ675ixKPkFpQ7j4VvBjoRmw1kH4iBgwKlPCRIDcejoqpQEa4DaGgYGBoBht9OtaFM00LdJUy8vOc0tt0ZQd5XcqkkVmdqUDJVm8ejjXyNrRmB6vRG8t3lnkl6JZaTBOdEJ2r2/0oN+MHnbwt/oSctPgrq+TRn2Fsi7a80gIfcCzuaQyGTOiUwiWDL3O17FeOSMecc2mt4a25I0J6i5OVMWeY9B9bdfJ4Viy/5MGYdWv9piOOgytNn4tY2L7G+Z12eIy4XYDYc8QDeeYajwzCnqH3qDImKyWPl5kbT4daWXlUEV4sNq0EIVzuMx+qIOgl/MC6nrT39XpfDGFza+z9VtzY1qoqII8FIxon6sEcxxurrYVNK9/27do4qklpTQN6weUy7fXwuAlQysIs4SdiqtTTPx2lgir/4W9jR2Wq1Ui1AuDJV97aMnmdWzBM4gjBh26K69/lXBUQQSnQjYcvj7ncab5ReQMdar7Dcf0j7Yjymymf4sustXUinuKRZLKNUij9iBrbHJ/opEhfFKJ4FLDF1DbduAu8+7cHTeCO00a2OxCEaRiFVHj5q9VPK7aef3zAbnk0QOAysxFmi81kb+DkFNWXZgsWQCoZITWA3AsMtA3D8rqyjkyaWF9n48GVdTjKdhvCWbH4tQouoPrykVGtOiDey+fMOG2gYVjFItNG2SlOBhLiQyymNZMNFFNB5vlUb2Dex5ytDaW58pXN3HcWrA9Acjyljaaa2YEap/2lkfjtFO4joAidsat1vcMy1nruZteLyGGZHTcYG3yIhKOpejsmiLoEwF5gDzdtCcGFdhsj5f346h3OUHDH+N+rQlHpzrw4pqyYD91LKkSE3ShwPovbrk+IZOmy25ho81N8Nd70+rT6yLbvmDDuRSfXj+GZeM4+femzysKBVS0AUz8WMW8Xa+QYt8Bj4J4WvHP/c9KwmvFMCEddMPQv6INuXPa3JZWixNVXbllKatREqML5mBcNRXpKknNSGPrasE9aJcSLx2lVXU8MS65C09IQ8WIlpEFfiDB4JY9FhYRUmtvm7m7FNjPq+loGBPoIq+cHxPZmpn9ltkgk37IPT7IELtT1yXuSUSzoUkPwh5dXTBP4ikcOSC/mbC3snefdK7oYQD+2IMc/0WexQn19RtR5fL3+bVL9EyIGdjg6ojlakDqI14I8biVXX+ahQrhLrTv25Ef24U0veyr+bOJuWXVL3E4r9errgQFPGOc0cn/elILhQ9jccG9jzzpcPxGdbcrhEkKf4pDZQPO4huELfXUO6I9DBaeeeHxA7D4+7Nc9ysw0y7aKnBinWlbSwVmhjHwgh/tL6uDo5fWs/ivdfr5rcw0yGltIIpJ9IVnVyRSmIolrOFpYlF4xmTmfYzfVBTLcndfoUlYvyMDfRd1i9PkKSdWr6mre8mqiz91Xo3v342RJ7nfyweQKj5ZJcgwa6GskAuloyvdl0IAcuMsPviW83YfKJVmn2EmY0VJHV+LYOVRxnnEUBbhJUwXW2aCil+kImkIoBn29Oa6/JocivJswUay2Wsf5Q9CJ4EEdlutwJFyfrN7zXi4cBOuotQRkw6lBxVRvGf8+MFnCETdmzZUkcyPQfV6xjcuOHlgq2HNggZ8OXinD346QMY9amVZ2m240GzBMLVov/QJLL4V+HSe6ZyjmdY0PXl9ZAsUFlY4+xIj/IZZSdL/uy2V12oLdw6i4Qw4F9fsxMTRAY5u6j8Ajhq8V+2KKGTdUCpVQLrw2Ei9sVg4S/a7hS5qh4mx43jDEhcbAO+lO3v+JN/yX7gHxF98yz2GrdHSrWCHbu6JGX7Xp+CCP1VlFq5qvuewMIIb1foAWvDu1Y3MK/N1djXnBTTAWB6/KnpjR1sAbHFMdJjvx6J4VBzR2Xy9hFMTNGdX/LGPm8s8GKcIFn3Dw+vpzzu3z+JP5fJ7ZXAkqlSpU5ng3yJ1WcaqdF8C3b3M8qtVBe0D0b/+80KJ4h4pdGmeRvvmSs1as6awLHmL/rYYJwnTehla/2cXm2KiZQ630bGBwffU2FDyqf+X5WISSqvB+Mz0Rx57GgukCWBIZ7Lq9hT0Mz7JPYkqt/eE5aKVOiwqo/4/hm5vq3H/HUHVDj8lP7CSDM24IiZeUNwKTArE/hC0iwCMB3sYFYGzQqW2AbeA/BX7s+bCtgKPYiy+S50Dzgjw8uvK54Jd2DQesLV2D7PM9JzwnUp/dJstwZnQc0iht8IUx/ilg0Ra4XyW/hJVEqdARVeQ5MlKmOT/OfVxMkSF30j+8OOpsZEgBxHt/L8JiBy34l8P2tHDr+nBrRnGSXW716thGr3PhmVcQ0uVi2gUT/RYq4f8oeR1FgrY6rq++HhmNy4iU5OMZv1SaVNgakxsmJe5RfL/Dqbi9TXbN6+SGK4AkFZdL+xmcbylG8e+IIG/24T1UXwDAbGobRxdMZIHSGWBTKST5YSeuCiKyo1cMkW8SMlH9NNhQ9ZqsHwk0RXxBZLlqApw8lEcQlqTxT5p52WZnQ/dNihYKuBmiCJ3Q7g9QNujjYLLsUikxQUbIbK99oqMtTP2ERwBE63kmCXfERE/IxoJHZ44O9yB6/i2Py4vDP7ioI9oB25wqlv6G1ORtzQjnqa4sWJr7gQrl8GMQvvAh+44n+nqqRgpsdyUOe5l7cwQMoJ3cURJqpeFGGd7GhHujka8H47QUIhVH7tudmxg3KXRKV7YUIHNqsysaJKJi3QgMDneb/AmbihAvkw7J2caFE+Q68WRw8V3fZMJCWqJLUNw+Yag6lna3VL9Av980OXZPqFlpATdqQz4i9acjEntrxWQjGfWS4+PvOHiktbHN82WbZtloYgNw04aw66PNbUe39+7anZ4kqamxt95BLuoTlBw2IcUIsUOV8ivOU1bie7hehcSsMqS1it8ftAE+fpdqVrIViYfQfCWWF9xu9fPE7IaQjzCddF4ltrxkrmFHh6nYJteOL6uojkUVrYOEvEbszOxyt6lj7vAITgOpOSF1IA9T7X6aD36yxX7Rxl0uyXkffFb20cZDvJJ37MCB9GaIpHokOQFEUAeigDCXKGi3CvuaZqRnl1NSKBCy8Ym6nMcqGhjJ7LFSZomzYjbXYBw/n5ddl98u1UfmtuyNqtZbIPCtXkBkZhFu5dTKI7KWIcjmdZNZJy5swvRde9fMoWww/MNuE/Ir6X5MRJ2Z4dtfrX3nVGECvhQNek4kbw4pX+6IUE23+D2/wfFAq3E14pleIZjP7W3fQXDGiSjYXyusnZob3Qeo1GA0OHgUnJzA8dr79PhsghyD6A8zrWy29ZTXsmpmpL5S7IelF2KQOsl3L39BZWmCfXY+cEma1aj8WjwjC6O8gVwS4aU8Rx1pDXVCElD32W3ly1Y60BKeSQOObV44tkR1CdH2mcVeJyynDbi1nvQmdHNp17DRY9sKt6FcUmhEX0FIwvplUVnpylyaoIZcRAblqNVerqLenjL1gDJB3dBWdvFVva4ORPjEJGnZKwcco77NtRljhyPSn2v7ZyHGaYVWAKFUhDGPBGMz3Dnp+UJVlqEIrYyi6H6LFy0gkNLOfjXhwPZ0AJHL0DWOeseoNTb5kmHXKY/Fr5Cwq6N5SzvIU2l7c0HXaBTsmjOb6iBj92d4cshD/GPHLIzl818M4tYNxLA+lDHLsFXCuIuLV/bXeASHr82dyUwaBTlv8Ac8rF3Jq0KD1aRT0F+Cp9acNTahgsTgPAO3qYqZ2B7/62CkyH/+0GQn9VmlqpdkCwib9THqCNtzA23noCzGpZqX8O4sCPUeEtClTc8jsbAAcp06Tw3Ni4ZXaOV3I1MpdCCIMH3VXe947fLTK0kYpVPIgdqptq/4NkSDKUcRs++J8Vm7yQZe3QCZamvE+hb5EstTg+kYx/QYOZ1WHK3v2cNrwWhHOixO/Jx+OR7jYxyvB+9vuZyFUL+Jjti8Klt88+zXwU54Zp7t0TRjYe0UGQWcHHWBjcQQdAkyIsCzNAi/Uklg59tIKk6i/MYIDJq2+RROLihdYCdcdtYcJmIVFwKZNX3cKX7fzVWmPoTKrPprt0b25VgUd1wYljL9sHb1C5zIJkgQVwfmb32409QWP/ExOhZ7MlqXKQc3fBOt9NCq9WnGOzpCINC6DDaZIqUHLWGJZp5jRYdTCdWkQTlxS/6BX6ZpWkAUjeSAc8yEwQy8X+0gzFljK5CSj1ewDGp0pIFVblX5AzZ+2nqmMU8TUmnyRa6cjKsXpdjomKvTZmOKkmRGvn3DFesI2CEh//bcgGkfyR7l+3AzUEFdQxLGEi/E9AFAHwccxRlTIdMsz1YbFrGK+Di1aBugUKiJwdZlGMiet5hQ6/eyBPSiC1FUykFRpNdbLclt0v5/4XSNbPgzsPLmz8v8tELsprv3/CcdpGJd4MC6seFc+wnpAdtRbUzeznYeDs5Q6t/0etNrG/IT57hfoN05bxjay/JkpqXifk/uiPz+nDLmUsTb4gIUy3RqgFfbSQg1Yqr4TLUMB6l9QtQjRAaahePYLNVbEMuewlodXJObzUOvpFVaXHn3jxCDfOUHVrzDmSpGs/VsvwgK7h0Zo+HH66/t+25VrZohyEuoFI98vSctHhTxNtPd5UVgqQdvEjyMmoacn7jXEHcZr7lgrRUV969w/COmiiZLvQtD7uCr3w0BKNFJUv016SfCGm61BfrTPk9TXeH1nK6hqU7xx6BmO8VpqxOSQ4Z72F2YNmFaZpcEDhPUEUIPJtzSDrdmn+dJ4/scHn5PW+/RYdhwR500daJEMBM96udoAmlcoMkVNcnES+tlejoXWY3EpNmigJOUG2d4ZyMfslGHtaIe100XZ7Qu51c9BfzRoBA/0ite1axF/dkSsd5Pf/BPQRc/04F/fgbDBtwdaboZs5I/OaKXGy+HqNoXFJcgdwrhWhLZpDdOTYYj0Dj2/DuiauLWc6kifL/czg8u5cMX0WoFdSWxDQCNKKfbu5jtPI8MqLZ1ai7WTQi5sZmOE1TDA2rdszSSPxH5jM5TX/PY/n/3wlPqRleZ/qXdlNwTKqgXSFIaa9jPd5Bl/L4I18W/e4lKeih1USr/tUfASFb8FyqPbyfErs4YoeNAiF+sgdIP2+GKTHvNVQEBhZtsF4OGiL/y4WXMg5RVlGrwLV1Vp5ilpTrU35Ucx1T/Q1zI4fsxLE71Mz+CWIfKbaAIk+vzvQNszNzV169k8VfvxtbZmmqkHnE92C7sD5Q5vX4CQSFy1lI2oVL4VIsf1PP1YtRPttH98diHa6LGMSXzESeObuMh1jfu+hdnXgIGVKZjXCp/LsZQ/5FRP/74W6Wj7I5IYscOaikNfguht3r34sF4lC9X7W/XZWHn24PSfFjEZCh0F5nEZ5IWIbrL3p/cFg3y5URkoOtzVvp7Nt/KWC3XSFxgaQ5BU8JPjNKifRkOaQ0fv+9PZWWShhbgxi7CjC3hTl+h9E5AHWTf1p9SROKA+MIoNrTOqO6B4Tv00kEm6Q0yx874vbueZ3IBgUZdEWxcBVRWDn+K8TkZX370Em9wSWbPXpnhd/HoA7xNwaFKP8vYe0jMUZY3oCAzrGJv3DXh8I8N3aPA8usL7NcEl8mJ3AIH91uJrDZm1VpDyj42p0fwh7yFO3ekqys+b8XsKd6hxC8K4XTdDbOon3u8/sw//ig7/7QR6QmeapO1UmubrBu7BawFWOUo0M4waiOzzu7NQzQzL9CKnDlJdpg4MY126O5UgfAc+G6ou36g+Zt8YpNqQ3GXmg+nlaYyeW4IF7LADTX7PqrfxQqllB2aXbWqjfpYBL+u/5HOaVoBkVyaUb4LqTYSXEXWyMYqATuGE74vOyr8aA/wytyJkKTK0/yncJLyinF71anAKeJcZzsPYtGwugD9mYdwGtBLFCeNuAoGWf6usGHjKoSCo1l6ie3fyFR7zSJpKNiQ1+fOYXCKoPUY3jUG/TpPmstlRIZxICboMMmzJiCoaV0l/AvRaxVV5uIB1hpWdo1Be3eeeA4wBD8vOHBgnORGIA5XNiT6mtAc9jm+Twjd3OkO8sGFQBY+FOtNZGm2hDw6ZI4yfRGJvF4UqhY2XBSrJqUGkc5X0GPvlauhwdWWw1f+FsIFQE+ai/6cZ1QAm3KReHfYjC7UtyTEuDPgMiB8cZGj7OMkWbU9z8gqkFrvOW+FvAO7RkNCxpG6iB+wFxdY69eD+eT0gjrka2AU5irVC96aPPN08Hre95bJiff9AyG7/OeJXiSggh1IGJr28X0w4W9Vta7qK6a58bvs9FewR+z02ADwdjDWT/1ORTqZcCdBGRHcRQdO4K7EauewmEgV1qr0mdZ3h75pAH4b93b3Ks08DyViYtvBoK08psc+6EXzrPeMo8EO8K+54am+/P+rN0zivlzzv9LaIxMUH+Hvgr4T3Ck41+3ng+8f30Bm04dqYTDUFUlIpoEAb7VYA8+m0ydntYzebvJIKb73jpPyV7NebcV8aE0RqhbdrL0/zrL7Gd0liTnAuv408ODT6sZDvy6OfWzRghuSouGP/HyQBvy9sdvDTbJuopYwInzpnKo6Nwohn5Gdfz9+dhbAp4VwXyY8FIlTC6pXUeX4vkvt54MAizJy1h2yf92oVjZfQu7TEMrpov4slMLkxgg2wBAHhIsYNJ+6qyM8Fvpy9GVP55FSesiu51n5I3BB769WBVMPKFXm6e5uIBPTFqnoW+Nf4OfJaQvbE+vII8RMB2G/khu0oTjh8jbzo/iIBWVqwfA3DutyG6NqKvBsLQYGDcL3MDAtYnVDgB5o4tXCtjHay59vn9THus45b/JI1h+hloTb38sqtnHiNTaVDijjKrrtasrrWO4G/tRu92UdMeuNYcP26xtUIgsvYRYn9iBs2z9Oqb35HqDtVjs3Ps2DKOQ6vSacWWyVIo6LypOc/PMcmZnqJBrgr+hUH5RCCxUJqfQs164SkY+KKfyyBVKCUoBU2vpUYuf8R6tWT+PXceMzZgY/BLnsWnQylvyy8n6HXCTFQCTdNYwhioYftP7VyGQXu7xq5R/ot4hGkWO6t8+RGIVniQHSq55NxbOD6OnAvs3jQcACmuKHvfbLwGsY10RcNbIyUAqgant82oaMr55fdbNkicnu3YgcvShqNYkVqYZp4Tzi/VJTBS5mxdn9lnMaukbXQcrm/kMPh1VAkhLCbkBCFEhD2WrGddi+MDFWuvAJqbD2Ay5Mte3FKOE+ldalE86pJ3T9p121A+N3JvmTrb/8U2utwSA/+75jcjCE9mfk0OolJO6p6dbH9S1u8S1jMetq4t6LirZOSC22tIKr3JL0d9alZmbavPWCVB2OjuIAcfANJLMEA88FKUBaD1cUidpFAkE7QAXmYQJC/8gK5nRjllszLVQetfjn0WIKDhocJpeZtAdsGjs9/3bArDD6O5dTfqJLOA5nQpyIx59qNLXyVN/ag3ldaYIcHQjaMFYh2GUOOkbtAJykUK9uiJ1+2n2M3RqpzhoFhIxTHyLyVefva1xGnT0tWT45uV8nd33XTLQU1Bsd10xMOxjSwDFUBAERXKGBY6VWLi68wbMpPSS7tOJRqak8TnqD92FvAtrsNkkthnWXue0EVrjGqOkLCn02GGZJYv0XJOXdc2yIWm0wldzc1bBKtd2vWlX7TrlEfEsFLu6Yz82ijB7fGQBe2ABn67AnMUtG6uUPiLxihLHA/Xf/5nyW6u3OhLljoRlYQ/IqAvHhZQANsbWkvdNDdpGt11HqiQMUVthOAaQukf9U00IG35xmbt37vcHgT0JskmxNlEEJoRRkqdqzZAm348sdewpJO5KhHSeH+AqG/GvexOmClt2FYpxBWGT+gJwe2j/5Z0E2/5drqq8puaHTa7R1zMeKUMqsHZW5rz9cXCYq7nbGP+rG7B1WHp5RpVT4e96rbanzDiMJJvN3Beq/ytP9UEODdOkbCIAbo0OF3sis9u70nNeXot1QHqhNo2AbzRvHLReNM+E1rPcDTV7r6EvOcbAEpZ5TKB5UJFs3TauxPoJXoUgNH/dRER6Az6ER0QdM9sjbxMTZ62sopDoRgZ0/ipmWIZDl2gRKO5DW3Uoo7LZ/CQvV73nfs435YWstaO2bOXTKmkMY6d01Q/hg6Y7IEGr50KUkVfSC5QA3qJcHfOWzkZ4tyitx9tjMLqYZBfz6HZOTRdHhDojW1p4J6UITMm+wIAcuAwxGtQNCVRZ9uZimg13wh2PuHEvjk3Q1n5HD10/yu/eys5xMUCw8XqPh2f7krN3FxkOaFV5mXYPcUPiATTRZRWPnXQBuPhxIt3z40ee7nxvrbNG/8lbTnVm5RXYblyXdE6uwOuw8mBFglvQe3xagZJ5Gr80V+DwKNBS3dPfjBHd7fDtSdwy89gK8/CuuZYiI3OGZND8OC+8qyv+9iTQ61/2ds53+T6cCQnFZoFokpM0Av92Jdj2IJcxrc1xwtOu+RPTxcwSzLxqUZ6CK4TpXYqtzyEb/1kisnUE3zOcJ2/2dawO1lqutoc11O9HGix0g/+NIn/NmO+JNqGdvW6qlr1yDsObOwZkaQg5aRVCzHNhmbivfPQqi2KgeyyPlU3dlWoT8IJVuNE3/NYk6CWMpGahCAfRFfhp5dIJUYjxSsr8BjouSt3tTCR6p9TrQsGI/O7qtJGXvb++EnGKRnjqcIqrj6KTIDInjHy16hz9972qKiaU6sj60a8QNPrkGKsAhle4pFqpBf+Z6xQLCeDXYppjyO79AseLo4pzrAtcPvoRQAaMKain5JvZId5Swq4epYjyulXVLTXlj9YUW/FYu/0LMrXGd+tBjbS8S4TihgMH+B4YijGgeAX/NW1tOI+qewFuNqcuxmJI6MQE5UfogyhWzmeNJmXrvLFDSnNLJgWuehsbJ+Wwz0k2juLedpWWRP56R/WAv2z1xI3cmGJHXzrJEcldNpMHnDQoz25M8sVXR618qI/2XXX/P9Z7kzKciBNJHLlY2WlrsfvCwJwIoZULTapuQWThIqWMs2fsKnLoit2ZfpuY52AwlgRIpAOM7FjfQN0OztWFWGRG22DcfuGJAoj+2U/Ji8/t9Q8ewyzyhbE/8X4Krk1pKylJzJk1vylYB/iYZe2EJ28etDDMKFBM6XqEFT3VT1A4xhbduooDBEuwN/9prYmFTU9fnou8nisyR9fFOTR3LuSEbv0JPvrW3YfG7mFegxbVdImuy5QTVT7V+B8cq9CZHvfkvYTN8zZvNZm5DLhfRvdtK4+0C4evnBOCl2nUjeSzVHPsuQECx4vE1wl5yKH0WrdYHFbxCeX4FGRcWORlGjwrk9iEnbNxD4+O+CFCitjbnLgHzQsylUBrPN9XhasbubxIKzJT74zxKyWPKQik4ktgmV//iaWXO5UGSvc1GjJS5RuR0/eglK0JjLRNcHbERa09vbA6nEF4HahGV4dYtXxuIZ4hNogz3LKgkIwPUyTltbmOf6ZgcmqtCXnLmeQxUwmEVGsD5unTktlKehtngSXPnb7qFhYyZm6c4aT70HQCkZL13uv1U9HbmgYPfXU05iaWCvhUM1UrwWd13vfhz1plZpsSkBVH4+7rETNxpoCwlFv2EGbnAt3zaA9jNiOkI05fRlhoOMZCGYq+LgXsj2JRNM33kGylibEeBNsgc+/A0AWpG5QGxJXHeRS2/I/IH5CzzAgzI24i0vpGMziaNppQnKJ9tbDvUqMe+U/tuMBWXeSGFWBEe3O1Rkvvo1gsAo8bSSKhiUhl+9HNuWiW8PCnqHb0ntp4i8WdlczIkhN9mVuPiO9DdbG4cFcH1Nm1VzDizBOJzt35dopUsIBEgw45T0tuCFK1UHOBlkAEhzC3z3Q79zOD6ouXLgvQ5QLbvDNvbNvcg8G0xkEdFC3UhyG/k4e3K2Rr/wmukGgDwqbNbuG88TlC7pDVTRAGogdia/FcNSx+pw2We2+RlSJHV+lQ/QPvZtY+JN3anNVyK0sX4fxEEGi9dd7ZcDSetUw5K2G2C1oRYSF82iZMfVDbulLcs9Q9qgYEJLnkQoF98m6NQ1fTve7iZEZR6pYQO1eZaXD1izrNYjhMtQ3GQ31S76fMCKQb3R8LX0GP2y/jqBi1vXclMBujzOJh9Mz4qTr8qv0X9Djt9JIfku94ClcqlMLJR7v12eIJcbA6VgZb9pRRaB9Sn9Rw1wMyQM/cclR8MMnjwRH8/A1XRI4D+NBgf8XfIAvktEqtzl2WvlEwu0IT8KxjryKdLsnOCFkmhBna0+nUwwYTa/6YNA0B2DVMgC2G139JnbEf68urENSiD9IO5SkYiJgXYGESz+LmRxQLzMcvlzXNicGKV2/ECq5AKvItEwyWBCxR0J//Ia0R79gCop2GJxyFTg12iO9tez+MUscOd1fFVTbUv8CEffWvcWL5+8vF85/nLVGszqhWJBhdrBEN7TNNB/uvxccYAdiOzzA4f1xAju0V+Ns8C1ccKHpalcL/N7QoezGbfdsG7ue1+mh6YAJIGjQ/LowlbT1pNjYYIoBeF6imAVcXvP4btvQs8roRN9s1GiPqRmcVQHSuGxnF6hy/NmcmOlwc1poWg0d1/JRJserFVBVNhS/E30gJMxAUrh7daupnGaJuaPft095MRM/pZ/M2+5cDD7W3hjJJ0K077Rq0bpWH4ZgdXaC2032TJIdqS/DPF+bts6ck5gLr9Q+aLr+QOhXsi0MyCPnuurz9jiBGgKzTdDeLVfCzXQG3shSVl4ZOfMj2CHDM1gKT9+4UemVN8isIpfbd5DGXkPNmyZ6U4eRA6YmWr/JBJWEoRu5ggSnxxOCG/cW6GZziMN+2SUqTZvXXM03UcFAwV4yzZlrWpAYL7udYaG2sWjI268NGoeCm7MmI2xD9UMIFzlygAPs9bm1bWYGAm/f/pCRfMDo5JB+n0GY2iPoG8kodXgqrVQgAvlZsphwri+5iXJ7jyubR/9wJD5pswHaxXjSqTFFRhkXNdk56ZQ5c/Xir4leqZLcl2JpXQ3acggfuztJdsZrkxNJ33i+HC8UikTqe5F7TPnhrI6kjW5PCHxINhO6d1/7CmBgZ8w2ZYVZejPA6y3yw787aKfgM4DPc0BmPP5VISyNog5MmlQyQEl+aOcFIxPAe49PiBL5gIEvEOfRvPJsx1BUL6/CHZXrF3vyRAK/++mq71kDp39ahx3glaRc0aB3Z/kmhhHarux2/5K5wosqhsU09sM7STWpT1Xrtar5RIPan+0E2ho3o1WlXnBTso/ioxX0N956HXqgdDbvxvTxy6bNDGSxIchOXyqxORpV7WcawPY4bHHYynYP8WM+j4tw6Ns0IUBZ+MAOW4mDeJ5OzXaUyRzSGsDGtwvc1TtI4PAyk4CW6vMa9axLE0yRaFntITZsywqd23zoKJ0ER3+afxQgfio4WKnpoEii9E9hLCieLWKOwvlTP7Dz21h3GYnJXHsr4Q0Pbx93HIcfUZQsUrgvgSE6LhCULHNbUPzkgkTQCmMGFN68pOBL6bgBBW4tEOQ0jEhEK1GlnO60amZeXTZC2pCDknbTKxYyScbRbWpaZBYXPWD/phe8i3uZ6DTM95gExk0rmxDeOhWp+Yt/ZAQmHpa1AOzBNh3uYI7fUJjUsoP9w9M7NBibQcVKdX9iLBDoncE53t0cP0C4LCMxFLuY8TA1Nrp8Woz2x6iegJFV6rbvjNPK+Y5qjQIuwi2Wheq0Qj9rYJRmsThW35kOCmjTX2chew+FAAc0L3SkXFLedo7I3iAnL0GdeUxejGjxuCveLu9TYn34+HmpENaeCntuS45v7OPPoGPwO1Az9nmbrCarmclJ3yEkhsINOyt7DypTwyBL/z+Upo2ihWqL4mZMM3xpeXdu0+FOVP2JlACKjALNcgqKnTWmQQNje5ku22bM6eIZnlgAWtDhrB1PNIGJVcZmGZ30LI9M1IxNnIeLCfFhzc+OHzXE/aUaf8kaOoGfqdGWi5lalLtzU2lKaW8qMPZ3bbNxlcCze/9LVFAHSICTLue+F0LlkwvdCvOE/zzW/xsermeuuEhnrBDOPpltdYpXN2Tb+DJmcOStd/za2TLokDw7e0FI9d2HO15zGNGzuCizoWNO8MpemMWuDxQSRO6lGJ3J2Ddhg3gRLfGhycvZoPOsf+vq+H8A4dbE1azsIXpJ1HS/us6R9oU+dx6EiR8KevM9JbChYsD9622kaLGPai1ghpKgVQ6tRw1pEnHhqqbaJmbRBR+493/wQkUMkV2gLA8iuqKLTCEE8lXehq1qQhKVHucAZHnzXxwqdKcr3+dwIV7iEFxLwakeX6dYMYLV6Og0V9M84hf/Jh3pAktYaA57S8LgwuNvTkvl2zsWHwkZL/sSRljQcKugIbhDM+XYDz5g9IhfB88+X8/MXq3dPEvSF4Fe/VpDvdWwKEkTyNCBSrluF0T+lT9F8O/k0ivhnQTOgJIxi9WpEQVRaC0+i14nqQbuELlAA6Q0QJTcRLl4j7hjwdirKEMgxQT3JhTya2gwGKWtYlj2QI7g/ajoKMYelufYArVOMd1767qFruzyP+G4klxrUZTdGdkagEvQaswuzuNcxDujLT5ZUsnZyGE+wr2hedNH8bGt0ofw1GkujAlVKdR750Ig3DCz9tHGKpXRHAfgIJvdI9A8QY30loI8QMqsrnrSDaPS3/7Q+YnWgYN0x7WaqMM5wZwEPCYyMvmyP9hDN2B960VfvPOC74DmpEDHzTKmjMSaSHhnD8Oc2ji21HTRG1V9HvjwBtbaMN+DGgfwf1euRMbgfgGEydj/gTzE4/Tpq+yQhRmkD59ryvu04979eorbIMkokiHwDLKpnmKdBOmX3gcsrQ9H1qBU3pXOfRxG+kqgjlpFMPMDMq61ZqCnkk7rDyM/TGtlGiQXDNjjHOPJR1jV4KiRMyoxYIEZqwG8G9WWQirhxM5cTcL/A6OZYt4efWlSVZ+oYB022c0OWMW1iLBUUWQwzabj1VdWW0sxfKUgaqf1qzBqR0SxLTpaoK8ZaDXaufrKeX2WXvEhfII0nrr5FEptwv40vhhXScYFIyvWJDTOapwl7OaUKeFZNsDMLzGo7h7outZXBukMKgNyRR8PQQwdapitEtyq+jIX6OGJ1PMP4tCfrWwdmHWlb9Nv219Xr2yz7ru6ICTXrfsAdFsoELea/AOhhWUPOtpVTfKlMJePalKLat2IYkqU/XcK0GYVj+oyq0dXXAPKl4DdcbMGZOuaS8mNR28PhX2OiqEavByhewznKURpnyO2h8EAs/566i1+/eP2LhHb2La+e7B95zp3cWWFjSxO91IW6aZWs+EqsdtSee5JG8Rd0MQqmR7N9qZueH2jJdNGNpNZl30uijDsjf5A3ntIAsWS/rmEwwZt7/DJqWD1PRIicez+ogqSW/P+ZorViT37dkGiWjTf9cCgysA4hMXPmEffaSYiX99y5sITTW0y3C5b6AobJ/azFHsKUPdJxPvCX6c8JGHBnE7mCa7tVOi2juJGzQDZPgkkT7c+t6cjPUMqTVgepUQVg8gsKHe1iSt7WsZ3q7Hggygr1OAH0j2BfzIpPJLlKd2LKhAETplcQRGH9qVdZ2KXwfQQjWKkXQA+jS3jcUnwN612nOJH+EEGZBkNwIzuHtBC8/PHjzKhH/mS536lH0Lt/9oGTtmVWcgG8iVEXl4eMp1CfZJJRE/JGRmQ7mSfyPFq5X29F0sQw/+HGEf8DAQ6pfsxhqd1ZHk1TA/REeBnapDeKygjFy9xbgPVxy91FF3sbaBqwpe3b++yWnYaTflFe26y6UfGlvHn/8wDtaka9x46ESKjvRW+muONoQhLVGx1tNKdlEm7zVFxhuQUxcIpH8u864aoWasD78LrJ/zQRiUHm0BJqwT0BgGXvNq9LRHaxFCBUSgGTqHZn8+fvk50tEEzYumAf6V1mD8Cjv3D80ad7SN1qtjeDb14u3/TZJJDsUl0krJk9b5siJGW8GjOPgO8GLxRKFwxnqeROgA5m6a43tgRC03/RCtCbRTYj+abZGGfUoPGA/kEohYl5pwDiJS9Bk8aMi19Xa4gcq6SPpybGsBlyzlCCGIdXtlbx/jsRFrwRrZIvXXmFsD5dxxN9bd5e0sVogjB4C2WYuuG7oeYAR1BjsHBiPegZaqN+BvZroeOELsVlG/GGB2cfJb+ZHRF4hPwxdSGTXJn+VqPHGOTGDxcT7dpCupmr+Mm9EPDUMsqhVYHBoSUJjImOFAeKh7T2f7t82CoKpF+Qm8J5pckWiIMrfaxvZ6roD4cjqN3buBaFig4taPlgpZ1kFyAadRq5DAaUlf0/s0u07ymJCFJ93FaeRM/w1ns0VFvp8yKynbN/9CiQJLXVQbCmT+kZ3k2Ru+yBMcQ2tXMd/WHKeJp/taYSgA8Hq234VMW/sTldTIjve5cmsVy5Fglj0Kl7MaG5j8S+WXhGvfwLoh3QTXKAhH7hZ69lSJEF4b3sV2eXeHIOad6x6ENMi6f+3Gxof3PzYiRMTSLxuqMhCVq2znd3MWMHPTA2j/8F+ZmtDTG7TZ18NYssBqqfFmS1+eilAOXAxFRKtkn8VZNugbcrguFW1irph2wJhH+6iSASqBz9mj+8FpZ9TOooFiK7rxi5+CwRuoQbmJzPE0LwQISft0muM2f7tKwz39x3AeWpEh+HYdRsSBHkrqYsOYPBq90LdbuX+hxvUgfxY/WYBIyeO8KTBPf0hT7ZVGRwRMGdYx/pzkbNapgRZWn+BJ0MxfG//F/cAepL2F17ufvXPQsRhRjxtRWQ6B8EYldgz7sUmEOAUX71hvV6mgLQIro82kClpG3bLsQgOvqxVY73SS3I9Lo4+i48jQKX+fJkeiyqUj+jFkWG1JtiO6rAO5O7PD+kT90rWy4pUoBaA4d4IxT1OmRRyFAjXrWCCm5XGO1ky2N1L2h10iLTd1sdx7FWOYxQb60Un4QcDfu550hogsd8Ro1AobdF3Q8KUJoN8PBAWlRmRgyvgPh+Rf0/L0xfcswQNhVXC6RU2U08AfHbA6QvRXIW8Oc8G0+zf0OFmVYJwf2hyu3fDmPqglJtVxNO1laGavlfOhXP/L4YadV6tXTw8WvrqrUEVtxiNddHETsJqWOOhQy/W7FYyJEaZUHjZ8X4aSppzqc3MJCxuFQ5huRggkYME5/baPLtlmDpZ90CwVieyKyngYJP3948ehHYduxR5dhee89rXUIr5yP9gegyqbbivlBKxlJ6JL3COxxgBlsGlUX8FEA18OKBjmey4pbUve+7SNoRFeP0PH0hrYw4GlcrwY2y1x8mbIGWsRhKxRW6UteevG3+pe2Lx7EVEd43DumRg6kqp3D4lJF5+8fqXct7GbZ6zhYFE8FRc0TXami+vycGyZx2hBRWGUuCzE94oqYRru+TPyYWbDPWYv/RgMbbMkllVud1m1fp+95vN/uXGMVNn2cvqVKLttWa1V7aeV8b0Qjs2zA3IJmzGWbH7luQqLX0ZSubjARURYmrckoMGIAmRqM7PFLMs4pyU7HQld2vP07w6OZHBMcdHhpy4VJQUu2DO4YNRQpy1Vp8ZNKinwRCtVbXpN4a3RY9Iiw36n01ZaPMn/c2ME/5uEcS/elI113pfZHv07J1LUT1YiRyuuFWor9wC23aFcSCabsQLvepO26upB9l5XGO+lZcoFmQ+mb204n6fYrYC50jUx7+OdhBVH+gLJ9F0Bm9Q+5kusYYkjPawQmz415KNIECzH4hinQUwcN0ZAd4Ui4P5XRj7/5pSAB9uKNOnqu/19Fo3DG3va6Lj4WaMUzpWFAPg6UcHZ7eZk76NSGGjyWuDTOXyrcA8nW5LJ9hIhn4/0O7GtaqncVjebX2nI7CSx4UYWBtoQh5fRyGx3973SG7W1cV8xYDdlviNKsiXusw2/3CmO+v5KkaZqHuLYgqY9sPYq8y3oEf04r4Zh9b6aAgpGfvOb3F/15GGiB+qFJqNNZnYC6cydl9/luGFlkSE/sT08i2X4yYsGpsxGRsmqLTyJXSHGEywtl84stAOwAuAwSDcX8dxx4q610ZF2ovjiXYRzeSb6PDxyivZWgU1p+V6fxOam0DtVcpp+eCvgDi5GlPEDsPIspIpA/wXgLWvG2ezaK3++57hntM7AlWXkC4VEiKD4+M0Rx12fOv4BK0lWZgIGBEbuYByDGg3Ckrl3bTpfAjUmBObqw+HfD098oEQ4PZUq+RJf2fyZDPrVJJduld42szOvrJlOYKEpQQn7SY3WTd6GZyZTHU6yhys0AEbL3mlsh64BZM8qlb3PCkOG15EG9/qGIFlJIL+pYzLpKBfg/tyOn3DteGovwGd6Y87U1uTVWqJkZsv2PM3Yvt0cbNGD7JZaOFGCl9ePjOenpOdEBfkxf3UyG9vg5qHnVTnKokScj7EjUuf/t76N1uXmdb0zUBPQ8+pV2THv3hgh9snw55My71tzu3uL3fQIKDwTmxp8FMNrJlA97abzclhennieao/eqfb6gJx/5vCpzp6+4BndsZH4t8bKu1cO8U+XpjCqxX/NbcYgm+BbOaEId8lL5LEhAGfJHyPZH1Lyza1tAjHuicbPDEDtksdiq02DyprRN/FAFWz1pFihq6NkhyPLbmCsEAa9QPSvwqK0N4l5o4+S3J5wTaWd6BlZDTzCqiJzr8awz0y6Fnu/FjL4558COSlALLjlc1MEuh33/LDCSr3a/kHW+mDVtAGf64JxgheeNu5ko7gv8wrJQb70S14YbWkYNvjOKUD/qlcXYOs8DKEgKdzYYvK6/htomdGjG3etSk+rNfMKeRdrbIFWy148xHFu0i6W+MRcYLgMUbkCpj+kvkKIoVOpIqTwLkvSZyamZVGWHoQBSn5gyPIkvDDvW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1000" y="1521460"/>
            <a:ext cx="8821102" cy="54889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762000"/>
            <a:ext cx="77515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kern="0" dirty="0" smtClean="0"/>
              <a:t>As of May 1, the MBTA has $5.0B of principal outstand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kern="0" dirty="0" smtClean="0"/>
              <a:t>MBTA will pay down $257M of principal in FY18 and $273M in FY19</a:t>
            </a:r>
            <a:endParaRPr lang="en-US" sz="1600" kern="0" dirty="0"/>
          </a:p>
        </p:txBody>
      </p:sp>
    </p:spTree>
    <p:extLst>
      <p:ext uri="{BB962C8B-B14F-4D97-AF65-F5344CB8AC3E}">
        <p14:creationId xmlns:p14="http://schemas.microsoft.com/office/powerpoint/2010/main" val="1077465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qvOBKKDS0pQGTOkQwwsfvbEqTueO2iY67NbFEWmTh1cLvc0AZXaj/otsj0duoaWX1XtLuvAaFNnZk65zZhBgIgRU+VvtoSTsMEMsThqI3xvaH9VtV7Ag0Bm9ARRRqitFK/BBXfQpknxZRFMlOpxaTQRsKK6p2lkdg/vQA2v3ToJzrGQ+d17pZiPWfXYkzALUDPpxqzDYKqU7Ff5UUVSX8AtgfeFyQMoNCNexELbsRUx4jc/SG72Y8uf7heP+cEKZKcp40fJqPWNf79jc2VawcvPZ9Z5dMafPxfGMzA4GWzxAIewqY32Z2/ITqg5O6intJ7BmKsZKYoY0y8sUOOAjf7YZvRReSI1WT9EgF8sirkET5if+W8rVCIbbhB/XgbYEbn05f7lWNS+QLQp/78dO5c8XNKN0KsK4qoQy63Vn4cR0MTIewOSf0QVJMI8EvSCde9neH2OTOv2icpX2Tik7saAL0AiOD+POHOXjyp4FGvo+TI2NWe893NK/lGTSBz1hNm7/lziV1bbkUzFW8hq3YX02Cbyx/Vrh5aeIJgrmcR73o8caA2YJvrJvXXnDoi/FJYjockNN3sHAkAhaekbghVK12ljQcb9nmUtcqffOCvxsVEsZi2woIvwNOjMCM0LEm+rBriPTKeNvbstJpi2V0SaRzbrmsrsqMn9StuPEBum6eZetxsMRaKfczweoz6a/cIZgQYKJW19XQvhQ3LXmazPTDcQEnvbmnRMtGW7kzNJfUkvqMs54/oZDUUNctPto3QW5/qgAAX/pbZ6yvMVKyk0IzyupASzUpnbN3fAtIbFO/qX5tIf/Sq55f/AgKFmbE8lan3hzZ23fhU5DXQlbv07IV3Ienw+JakcfSYzTgpPxZCtMuXUJk9T75NiWIxVxafrXQvKHBYd1ZV3nk5FuYe59AmXAZiHkhuDuwzX8/uotI9d5wPzfnsHT/sd2lA4mjogfqyqzEhP/Nb050lfYKXcmzDVCjqB5mKeioEz5wmBXhxa/giHel45e6o93pl31ZU2vSkEuy4/umUV9KBD6/DtrrF7Two3T1pxhnkEibnWoPUTTbXikSzo4PayTL54TYJw/FGHCNSIR1yDqGv5NKhktXa5SgmIJdGYDbt9jWCrENU2w1WtljAXzSk/OCc20FWPlKGscKHCxdARNj95wjCZUZWcR/Vle+flmDr+6osL4eJDkUfUziXEnlH0KxrZVRSL3nA61i3m4jp5qJ08aNCuWuxbLyJGG+GIeZOU7rVoPrNzXxGGOH6DGPJmK90KnT+HjBf3e8YKOl953xoXItqtjYev0Lbl4iiH0Xeggta7TCXtQdEynzwHdNuzfqLaHg1Mi+KK2oH5evcn5p82uROQvb8i5dlrBGK1eM10mwGS6BXjFOvvsIhLGidxIP89/aWm7A1dsQcqC6j+z7VzdFxSai9pinnnJR6zF4InzXVfh9kG3+3wl2DHrEJ21jbHUIWPWxlU3PgCOBhrkFDFu4u1OnwjCbg19sf86r+d0bukddU/y+8A1cV4lUtMlqm764Z5hudltzmeoNucaeA/FSlPB/DeRD0dEZbnCMbVy4r94+rdR57/G4O0nOTxWshal6i7p2Bd6NhnOYb8acSJlAGEG+WVCzalDvBJmQXUybZcMJAtRMko+cRvcbV9HAOtbhl+xnqGe1UwUYD5gtwrPrjBFgUO1sOX1O39hb4twSH38FupfVOs1OrLWF6uOYltuA9JKBTiIjIdGibI/yCEqh/JPIcbQ8NrfNwPJMN8dpOIy4UPzYmdpskv0ZQgKw9ZNHC/nRX8+6Q0GUiFNHb1ickWW5xuu8DJUFnOxuVGyeswulCQr2tvelFvdQ7GIJ7z3AFhKWw80aFU0bGhg/umFEhjW8p30dXsGpgWXzjn17CtPLYZPB6S0gy14u+UfOyO38sJwkMhPG+MfRNkvQGoHiw8B1mMHbcJmQVSRtI7JQbDrH4WzmjSMApSrWUntTO9p34Jd/7vcrwyczXNEIcJlKIOtUGCtwqf4KdAqSq2nY5BmEm2NM2OgLaVaBIZfLXkg3xE1NW1stDioZUs+HwRgqfSV1CU/J5QhMeTywMuwKZ7gNfFDcebzDvtmMDowQUDDtwfaLHT8MJwBVx/L24z9+zPjBMw8R2i0FU/uzENmiAsfZhd/BFgNfawnyG8BAhmjdrB1uVaMiSospvrPUmLwAXMebQfPpfOE+IYR5H21LcW0LwSFrFQW8Ij9PMealA1R/xz1+K0Nts8wIv/jJv6i/BG214ZciXLRYsKG9mf9ROH/ZR3gVwWJZYeGfhWM2NLr4T+WG2dfc3qDJ4iJrAPr2osKnkLr0Y02FFWSDvDWxUAS8r6u2ZGAmAkRlBRJ51IXXnfvFvwKD2+MOL7ZKumTM2H84+bvD8gtonBBh15CBmbqTIswle06dqGJa4EN5QXONMfF6USkdo2aZrV9v2nZzCkkG8s5KCbvKg0w5mhuTiFObZbO2c3czMdLh5t0XHpnCnqZzvAuZ0mCTyfupKR4Np8xyZ5O8Rl3YUYb0Qsy0Nt/1uUppn+wNcpHGVj9nCQ8xkbgLtxG77opEwVte4zmQQrzptUzq5wPx7oaj3wpZS1ug4A5jfKrKG12Se4+e360NSF13lVcr024cfHzuYWCYF8MXFauBZedRvl3tDoL0lqAyc6eSzqSZWNVbO9x/64Bo/Rce2Hf1T5M855eMxNa1VksjbupRTaiI4Mz7i02LOU0q8V9Jkyd+cAKhJDOfcli+Kf29tg7fJnVa8PjITBciYEd0epxZN+C8xd2/BOHSAbUUpKdhX3PLi5KGlG1CObzTJf7qMvjMc6ZOIkpiNWGCeUXRcLTReprsazwZyj8Q5uGldj+lZS4Tbs93khH0lgaUNGqn3nJVbbnrX9T5Fk81btnMQ/pVIzMihCuxT3Vt182OaujqWXPjjt2p94L/qpLzd48Cou2YTXk6pwCBsXDt3/koAgSkvKPBaPNyK6iFjLRwSvSbsKS6ltm+zYEmfKGTXoqyD34K+M9NzZOqTdNv42AZFIEyMMxgCpP8vcykPqN7GQt/ZcALGNfs6VlfGZgne4ATvVHBZFQeEmAbgsnHx5K7Ll84czKrxN6upLbWln48BlIjbbf7DqgVx/XgmwE8k8iT+6ZDVsP7YUtZJt3bVOeCW9DKySgfHCFsPmPOLYx7xI5vTOGAqXHHUwnjpdQPZcDirbW9hdrAgbUinDLHJG7s1SxRTYWsaeCYA25qQGoeIbv/TKCKF9nGJCX779E9/pIZVNEXbBvogk3Gx23kWo0JXYUNPUUogIhml6wywUxfGg48Tex5gmi5LTpYWlEP01gZFXbUb3EFG8TUbWzDtpSgaQVYLHvsfBp7e6UhaqLc0dX0LcOxEcI2l2ORj4U+CBe1QesgqjB3BCjYY49Q5kLFnNg11htVWcZgobsS+k7WyD4iTZO+lnI8IbOAnI+aeTTA5Y8naI1b6HZKUGWyXq9L4dNp73KMU/q99fyoyp8vNvv9HSXr5W50k2OYQepZuIuoQDnIIndU/XgIPn+1yLPJlmchqJasdv0H1/BBmYKjCxOXYyjn1jCBHNWp53LrBgQtqoSr8s08zc6x8UujxYhKWEcvF6i0h16Alq4ecbsKnGzcv6cSwu/ircHqhquG6z8FswZfD0RRMb0ECE8rrKXmG8Jh9Fk9muOQnbdqvEsK/h5ty8EmOrzHnfw2tRakeF5EkCBfeP09APZXIx521oQlBbDCDdFw6y6RETGS2rDw4swCvLjcUVG2X7NItbU+CLj9MTE0kNu2rzc0OrHZ1yhKamxhGQYwuFPLSrJZVK6Pl7nLpOoKZDlT3KyWG/rb8diLV9l+HOZzwiJ9gSZMhhep3FIBAk/ZDX8sET+oNgzsqCECqphzVGQKyH+ZB+oORNVhmqjCO9SKwbddN6lzxUNC6LJpQl3RxImFAs2y7pOy8f5Gi8XjSW/sysATTYFho4fcxaZMk1ldohrQkB5QW+LhrwnM2xGV0yjsX87IwOS51No2htHux6pkrNLW/yNLBBv18d4ArTU53uXriM48ehcch+Rx6Vr2OJU0sdCTTdPcp6iK8qyNGMZ0GLeaH/9BxJQXMyOq8nSgI6m4M53zZ6ICv7hEyOWcgu0qMGcOqRd6AgLPRWcRk2l3wEGnRN4ptu+j8+xv/oNIWyipxC3Jw+Vms+QbyyNUl9VBXc0hj7hC/Wsj96MT2vU6JzCUgF6LEgeRkmyRpxBYDpFDu6m7mruEwrUthNzVTGO2hBYlYG4We3Lhq0pjvnEmFqoyABMQxqPxEY9GjEongaJ4gzswpmSURo55NByVZ79Swr4oPAD6yzPRYLSDQQnQr1D4Orc6ym23cgv99FkgB3kT39EQTxLga4owkHLLbY0Ov/HZMWVaypWs58ipM5QgsA2pvb1zkcJoveB/AsxbgFsJ+RRXAoz+n6BDfDQ1KLk0oGp0SgttHLs6OfWqY+gBOiEx5tfl4MfuMSO2+HyNtC4/CnCL7iThdOcm1t36qVxMGZX3zdlgmRQTED0xN2ZzFx2SMP73hAspSEftNfcCKH82X6IgtTprSV5A+pI12m6HDtlFHSVzGDr7P0f1GUEApNE4p9tLxr8yxlKmOHgdS9SocMH+ubWzA+QwnJ6MsIlz5V/52X5HCQE5wfjGQE/c5ndQwX/qQ48pfYP8EtnL5bjabhAJKiMx/nXE6ZaAYBP61RoOQqexV4pTKO2ViucuOeRkZGj7w6PSRMabQXWmRZaMUiMgAHan85PBQ/rwYlXSDDFzrrowuQ+rwosJ9fCr7fEZbDAe+vKxef006mVkqqfJ22RABag9bqDZIroKZQxMOP3hwmQbDtG/+eBkzvvUrzDF2OoSab+cxMJSrSLm4/QT+k/k3R5FBIL4QAAeujlrayf8SVSxM/lTBVHx8O6V/n4FOWoaHokarFxbzeaKlDqTTf3RJHGPS5wNBycjHo4vAT7FyWRmESWUtQy/YGgmFNEpdeQZTALpfuCKX9s38n75ls/k8cacmzfAEC9uH9e6byCEvjEFOlxUy1zzKpSI6Zn0dZD3UFciB76fkFNZ46SrX/B8v9SsqII+Ju3NMdHGZJbkwFQ8B+CIEv3nm5bNOAoU07QGtD31El8r7qouaGzspYN0+VCHWsRPFsJxabiMsr8W8Gga1Fxh9X6fBgV1WdgRlOYjULMl5RXxajmC1RfbUy0xyijRju1C3D/F7SDfCSrm0lxbjDy1LuJSjt1MTpAKK5+lE8nhYRbPiYoaWQYX3oi3ptZc+iLhNxZ0Whgg6QXJK7wI1Hf34UNGMGgE5tXkk//B1+wAlMNx8otySuRkWsbvUQGQGgixWfzdL9P2r6XQrXr11wCQTF0h1wdUi9MdcjjyOn6Ip4azLfJAb1zOPT7S4K9TR40RvpLCOmwCCPmbJRjXgqXOx9B2k6q0dpTNXS+KewmL8BE4YQxtXlxdrpqJ46R/cSQGc4ezTNxFu2KG6ZKBLrsjFVKMy595VnJgPUAn2rXgI3ImA64gbtgmSkuM3vFVHqtKRtgb/y1HG0sYIdps7KLQKogeYUIyFoUMykjNVGnb1N54MKZa/7vRCFKalLZ6qbWfj5WUdbxD72v0J9ecmUeOYiWGWT7H2l3+ThmBcUdN/WJcXhmzaVWyFS3gEYK6/sFG0QLiulKlxLSnMvoMKRWe0GJhQ3u0baDoFzqEKD0rILzCdnzLiIieFzHwaaWP48EaceSJsBSVx+Au9vkwsxzwEmlDGoTWMkkBbmCYtStTnnMwnmsA1yAKArkfpL+9sTq/cbqhDCKVOH6A6E7+O/EMFcDDa8hmwpTyKC5x3mIEfg15zDz1wHst3w1QY32dVJBtDCZMuTu31CH57YH/OqWPYfssNbAOOLZKVVbXJUvZPoFyuVjiVFSC7VBIZy16SCBxsC56IYJ1qwDgkIpXTxqIkurqihWNrZLt+90QR/po3afniWCs8Ufr/xl790b20szHZHW7n3+HMAs6896FgtN6irdRzuxfXW64xw5/j9HcZGk23PSO47s8OGPsr1cw6dpoKvfuS9VSZHoM507MBtewepSFSPWVufROZPpJVto6apPvB2eLBqbceR3a9w6diiXIRwpDNZpKiUJS0FDENrHraRYrWZR28zM6s8wUiMbBdM69YgCXJcPS+Bp+PYXa5FED4Zc3CJsj/T+rcPVcFCWXSlSm7qEM1uHbRGYXWeT+qgzULgT7PRGrvVfCEhX4KJ10jVIpUv7CziBXZqaOHpGAhU6jzu8IQfpkRPqgPxoAdftITqPPot35xxdJvtoh7adfm/whmc6dDvio0RM9gwv3BlrxfnGKgxRRT7WyASDHffHy7/pB1scRozFpufaJVvXqatUaLuy0zbG87mwqkA3GBkohY+KscFPOdpL9KH/WU8rwTZriaEu7HCuELlhdEoxruNGglzGX4AmeHKLm6/H5YVN5pagijhF4dHYErpT14vxq9C0yuwC6/z45Y5UFOop5KYuzmr4yWxWl73vX799d+mfPtvQKgi+bojBX6y1XQ5OQSZ+AV/un2DIT08klWQwaXNJ21bmlJl/EOg2zzCAulQqUvUHD8eB5z9ojlNNrMbSzKXFmxSXvgED/YcLdNHWAMshvk63kxDlF8K0Q8pi0Aw6BRg8eUVPDo2rhEPRXMyN8Kdpr1pj2nsVrgatDd1SJSP2qFoB1s8Q6KE163XTaps6P5EpQNUrL52ASyQl6cq+8b8keJM3Ivel0cg9h5I3bd4naqWLw/f7Gl6I895xBeQHRww9igPRDfs6RsT5U6OaTv8Ku8qfBkPDgj9Di5wmCYC9iN93A4JncSXxQcY6siPIsguGKy6i8XsHdnbzwkCspRjEDMr/nn8NNVUoQUPRSnGWv2zccesPCJYE7aet8oD5TEJcRQa8zbU+OLlGwynpFSff7yxE9HR/I/ANDSMy9PK8xi+YFRJlaX92DZCbEqGvSTJBClQFXzD3YrK627hoLMGkcIgCh+aYJrJf4/W2lfA28f/r7lqd3QELZB0TD/cJZCCgyLZ1ORRBJytWfLep3JbHBb1LSifpw0knabRw1CCApPpsemB6gmaLkfNNaMIJDsSiV8tRCpGJ9hfbDnNk3OXM6bpH2rW6lb3TgpqCM/BU7zbHHa2vFcGrmiuiHAVOwfVSwLBlUEzX6h9KMgXum8R+IRyxPBAS5je9IkJppfRqzjVvDYznZX8gMEt1IbyljH0ZobCR+YKHL4TY0q1hQOaSjL2BrCLTD0nkxHe9sM1gBF50IiYmF8Iv9QWGGvOondI3pR2xa5xsBJXBZ/sz7v3rBpZX6Jj0w+4p1fiQb5WyPAAnfeJUj/eSXa7BaP3WpoidbDLpt43N6PTi/5zdE6+lLhl95fmcNLL5ifyfnwGBB4xHaWnreeN9Y2F0ymziIu2H9v39jUciS8jOOGsmS605x1gHy6wgsyPDcDIPkn2XnRsxdKyms3Bz9cp00FeqVYFQKs9yhtPuan9wS/arbMYS1v6S+0tqV1l3HT9VidhXj33qR0xk+nI5hzPJNB9jzC9ejf26KhnIpV2wgzPSsqHDFGY0FTYV0LCXK5bGrI8spgIYemtOHyG7oJJgVXu3ZC3Kj4n8yFO6L9lvWSOoP/OGy7u3KWk+AUxnW4RCFt1z08OQQUWj2cVEwtXdiekzKlhEh6NTzzihTLwJJyLmzctTtNw5dsOo/NGAK7X2nZP8cYdDMnl62x2EO5UzdvGkb2JQlhmpL+w274TxtMtlgi4HQ9qXZyhC+Mw/hKdD1rkPpBOF/e4BQMBGGLVUIi04Gl+x26r0Gx93sALkjmF0Ja3yn6sirUfcnZHfMXt/9HgJ9lUp3z4vQWkjtLKVgIXe+LGVGz/MYsdoxIEJdsulSDGQD015kouQWvdyyYpSrdNIUmEn+q3W1KWM5FR2ZjwK5xV6FosGDfVlD5IDbfWYc4Kw9PJTsQgwaqVfAOAMmPqDEwur5A1X7F4FMDzXPk2doD6XkJEyyN/zEvRno6FMVqiAkz0MvHp91XL+erVJLKxMdRbOWbLgx1WBXehGDxNlgTxbWmnjI+f8EetQjlB0k42rqqiB593mFoqXL3lQIdFS458wgyCSEXFuDcFl15wDkU5QIwbyJSb+XrCF7w0+CjHboL0YBlgBFxxRbw80QZA8RmF+dhSvkHrcxeR5uV3Iw35rUxai1KnUugCgBg2YZ7lDkEoto0dIuCg0/J6V1Mb7gMjUAtAflszsMIft3XDOp+FBzj6rDTMmt5t1TZDmzuvVouHqEnPhcKsNuTazwazZ0GT/ylqykibBjnKYjcgU5L2qmPTBGQN4eybtQM/aGl+J16+BcCMzmYHRZo9w5BCo9JxPpshIn4UIeO5YAl2Yb57qXNSPwWwMl9SjBy3tbEQ0E4+gDZpwjMOV0YzychRXaT7efeFhb7viQIJ6fVHX1SpbzMnNUOhQdEWlTq+CBNeBRBujdJZLFfdwXiVcIvehXlxnzvNIq+nzSgKG5qkiYb1uMAFZJOga6j8Kd1XGVHIR8qRYMXlt3PNhNAKaF3Qfwo+S8quivprYSnWKDF3cLTMa4XTJbxoKL8qGuZWPBMuTJxiiaEHYNtlq4LD0LyIrgrrhVPxOFsXztI91JGH+pDcxEb/XvE/17QB/rukzR0yriwmEL7wEXKP35C8rJgR1TS/7mpXL63i0S5NMG7R9cICFtRxbk6zgZSK2Y9tww74gA+pXu1aYEpR2yzYWchxj9jNbKkzb0yVEfngVt6ca2mn1yRgAoIheyOlCzQmk7866kKd9DHachGunJRh3W8JnuOTPgGtXNxYuqYRfReurbFybfj88l3Qytklae+W0JA2b8bxMOuxlWp79lB6iuaLRoASZzvkLtTnb5C9dOfvNRC8C+ceZZTgEg6uNOKhRTz7qW0cmbGr9CEIk3SZmprqXYRP1h9Iogk3kAqnekC65V04VOhpDlRwlo+8RGMc3MeE89qxKVWWTfurOAOrqCsTfZ/ZyQNabu+/qIRxAtCoDKaDCDhGzEocTKAOI2S8NPKOHFJ7iEznMY1fFvVHdO1pQCNfpZYoCrOR/l9T9iD0WnV6j2FwNHr6tVjthh+1BuVYvD3YJ+LWeeDXs3R3tfBsNGOQuvHT+Rm58DtyyGkR0wYTJTM98IQePATOcvNWvmLXXsBGl2Lgre1OniSUUPHOCDtH0wRIw2TStDNRBn5QgqTU84rGv2dxP5DZjkfyJz9tQtzUoO0GGiCCcI4H9Z6PCMPC4Cg1IdMHRM1HKXrxpzv425Ug7IvVmj1LzclLhPtYsG+I88jzuaaIPkc2jQu+qde7YQM6qJnjIooGzZ+HOiC0OtZrimOprJxOqvaYIK5dAZqZ0kfQkXH9e5tWmGhMivIjO4gAxv5+hff0ozx7y4pfy/WBkU8fsrh17tEF9/xfbBiPBssemU05rSzfpvk6HryUMpuyNMHq5SKpu3x1DxGeRS4FkIHtHS7nO2qwGGduvERSVyPB0jy1qjUv5uR/iCxSkbU6Xn+JhBqcktHt+ya2lITlxEHljxndHoXZEXu25BXyGFz/5JFsRu2hO0kRFFOiudvoIVJuO2zKGVsW8zhOaXXCavE/Y1PLuBsToPSOA9hthoalJUzyweAOnhO/l1ep4ASqUheyDVt4hRSwDrRL8jj2Miki1whOR9x72zb5Hog46SlK3eCM43TeCGOMqGMFpgnEWEF8e09ECuSy+M6icmn+jUSzAPDp+LaC2L1sdbBy54xnvcB7kjHd0pYpt/VVYUBmqm1+aJute2dUBfSPEvXlfPLvckbV+pGALo7y8aSXjfL7y5l+luUpzL8jZRL2CafL6WOO9GEI/L/ftU3fOWiVWAbr0SzeHYsowQtjh/XIWGb6CSUAX83AmT131lLgR2+R/RrlcHVuzmYBnDr+hF0Swslu0XbxIDw/412Fi3Wv1Ile7OBGqL1Hxm8Q8jVbx+m0EpgmLvRQg/rP50YetPYV7YXFfpd2oygECpouiOGuz0+Oxrnen0G/BkMPgYmJu/vwC70MJfMLMcsyFhkmMzPqe+uEbKGzx+yZRRHIVeB8apXf89+fOPugFNven7/1O5D0Tbz0ccXuc3AbCOiEoou1SLxmb579JANIP8uPl3TxtbF2lpxCKFQ6PQD4JBv0BxUwOGypusA9znCjEEOW1R4U0C7rRUi1k4WT45j4zJzc6nih+Ix9dTIs2OmszwlzImJnBgK36CDlrj2c+aOLOdziT12NLFBc1rP+ZkHaqrtMtHnRGHVXADLqxdk5pdbBpVBGeuUiS2jEuJGcg5pz5HDxrVNTPBzBfcDQjyCMifAGVwFlr4f33ukq8g7uIQz1pWCEMHfM5Pw1s6LeZQiSnOLdrWQKBnA2xv9iYvTdW8Sf6qR+HXV7WvskTLyfTqnyiQ2JTmRbq92keWFqdrXwH3nTplBH/uwbJ8VcJ7WvKNAbMLRtj+NvYvxvtSHg7eZ5SltxYst0LF5E2ZQuiv9NUdGd6hhA6VZ6MR4+/grBLWijPwEK2ntLWxlMEZC0msheYqYb9DoFg2MXCbeKRV4OqZBXyzIZ8uWz+a0JqgTz98zLiJ9QWvGqT6jmQj+7nmDjzNSg06ibVxxBuCmNL+WZ3LNy+f//FnLtXYEO+QXRJ0ZX2yw/zCgT0mhwXFYJeRVWIQfiLh/BiBIzzRO6TutHuXToc2hmLimleUgdB6Yo6owhz7v71H7iXwsLGmyBnvN2uZ1pl6vIg+uHqQBJoji6iKUIPExKNEnbw9bwqqmEuA2hLxV/hCLZMejBdDquvKR/U4XCwRRWKvCSObNDCAHl/05VSB24IJ2lZGkMk5DyFGPVo+W7oyIn4TU0D4r5FqSYAEwkKL/yvCVzkFDT4co0Yytz+Q5NgQka3eVxEFrMXZLjAES/7JwJW9/jg01S2HFxLUMZY7gCB6Z9WPaqT5vCTrnZAdiSS+2+Hwd2O9SUHt+Z1W7ibvb6Lpzv9PupSz6zeZ3EeL4HCMg60XKehwflScEMAmHibpJD4fDux/dkqIMBwKaVrMdkozegWzh0mZigIqrBSXM7atCVw7tFfVi7k9Ki4hawVaMPTFjMKpRHdIm1jSp1rLLIgD1tYABIZH0TAZPI+ks1WWhjtVhmEegI9zgegCkJkL1kXrlz8yfeqML04iEhGQD8/YYrdfI2j7p5RaG6wUfEbRqNCpegI3ev1b1IXGLe54v2lKjMb+6e32Lz2KxqW+sArwC0CvtxNGFElOrHsy8+mWb8zuLr8qsk7apo2mIAeqAdUINBtsvaKjjfMyul7b2eAWSUkOk5lr38MLFQNyyXRmMY2YccIxyPhoqNQZvWEt1kRzBJM49btdmm8dNqq6TIw2AAR1SSJFTu7YRf4n/KGAP3y+TYlxoAXKvZs4rlU9YDH0o00SElOyvDuCqk0q68XBzv/ebVuDr+AVCNxezo4a9pKn/ZfRbr1VLvQzwi6gkASU5q6rr3JYN8BQq61yrN6RuCcts7tpP4uRFAy51rZ0/Ofb/mXQqnlst/sCwHMct3xcxalPYSih6akKTruWanFVRNk3GjgUMPHp1D4RPeyymqoyXY7Cqdaae2KRAEmoqmbXjc5aBwoKPgL6b2O21N1/EKTYeB7l8QpymqM7t4bN3sOe+Ue3B8XRA0oWU4IUEmyUJqA/OlB7kTVMYVYn7K9JeP9R2R/o7Urq/maCJIs/h/PUUWqUceOrTs9Ypd5c0sy0Vian+OX8+FAxZUE6Ak14v0S9HkCAiHOamezSQM+jePoc6pBgihvKtKDfEAjoLyi+FXQx02cVC8MDvRQTMweMeCWKJ/0Tm09jIc5/1KA4fLJdrlla4CtkkTJ0v2ZnFW8IqFpIc30DgVLDq+jk5OGD40pYkRbosoNCm71kYus6XuNfTQVVJ1oNjLi4gBJ9bgueIL8pj1PUY5SVmP9rIFpgHQKGJPi2uh+mtOCt/YwITJHfpuxQXwaVGMTWYoMwyMAtB/8wulHXtoq9wYmfCzF1G1qgsb/23LmXjnC0vJM7Dzzq/qRAvjanTw3mYifIFolpKl8GlL2TMIiqfkFx1QZoagRGxNsi/W8GZK0pq+260SRaYAD5OEGlzUJI/2EcduCQ6Y3AWgpFcuRi97LAaK7jkOUkU4i6acHiOb6yVv+nY0dKI3wsgJ5cP0sjOHhqJb+MCM0aoYkkYHTJY7sCnij0yNXtfiXHxe7FWrrebnWjY4qa+4wR42A8MKBsaM0nYpU0e/jBrEppBa++eUV6KW5dPEeCpiMFp3kt1vkHap3ZCWg+Y4RwyVXRUBfEZFX1QDrC6zZHU+PpNJiP5QQIIJTHFaBmHJ1CZ3KuGykQEu9kVayOa+Nada6+l20eDuF+XrJDd8yqKwtgzm1e8Ma97lRoHZyvxdMncGOhByLJPD3EoMpkGioGzT9Avlq9anbkwoDwCHyAW80V+/sta57l9wpVKEBMdva9fF5q1Lb5ydPNrPoOWC2YsQ2w+e8K2MS3rSIpiwUF992x64n/17dp8GrX6IGSPTY6uIbYsU4RzkJ8x3htrybrXxaAanmVtjZbqorUNxnKeIv/DAoGPx0SHsk2S45R2VmUlUV25DQvibW8nUyQSm3IZdmxbFdX33RahsLoi4+QAl8mT8zCxJ8TMP/WiOY6Wmwr8ignlFOSHHLAAP3RBkHd/2ATWylvbvEJNtWh/+i3l8d6Bau9Y03E1rxwExZeH4/8nSln07wDOPuwq6/B5PAxj7tr9x1JlL78m7Y2CLjzj7s2oOD1cbyQ2Kf/60td/Ki+zVPCdMPX8NDXBHjYjwLEOCCtFtxMsMzHjOay8W4dsdrnqno86OhPi+I9Sj96EQRhAfMXfR25/NX1xkV7367Hel27M/WibiBBf11GY/hpZC8bXaCVQ8rsi2KMZpvSzSG3EsMrJr5TXwYnkD+WPcLQtsOK52MWKDgxpxu+0CW4ggjC5a8BbnlTBtQuH0R0js+XO6NHasQo/hKzU285tVJ/tVb6fAQJUxOE1qQa2xq2f04zUXWw9TuU7K9k5dS0KjDE+I47fNgCP0176chQGt8i9YoalQK9XhLA1YDS4GOA6vBUsJeeDC38SKAknkn3JKIjI+N380RcVbsrehwECnuuANyEHYnaprV+kGD5Hbbiruxi759ODub54sCniNXD1wlzy9D6kr1dYBXbIoy/s5MK8nvD2kTVu45AnxraIV8eInAhE2po+A1K7nVOILIrD7QVhxk7E0HNnTQ1GgzokRz6a1C9lumW92Y6+TWIYQiJR4LWZ4lmtVF9X++/ZPyvW9q5ZRsen/D5a13QFRtaoxMRAPvLW3p9YLilCfWV1zP+uTgcM8MDCF4M9knUXc3wFrqFsW2zOGRlIQHdg3GNe7lDga/ymj5wi3cjfGUIsrT18T2rAWcVsb3bgEd/+nYm+T0CielAybj+uIhlTOpKtUWhcHCIRdjJIPT5ofHGOCmIfoV92WH89hsUO+CiJN2PobchNokgCMRC5Ir31yao6+LgtptH5D4SuPfJaswdaimMqgfHgIZl03YKdidL3A9dgR21Yhx7N/CV3zpNTTaIoHRZPBq1wgXOuzBqrzVWvvU6vFnKGBIfHRfN/JOlRa/BcT/+Qr8kHsF9PrDBill/k+E11U6iivva8bH4xYm3+k/V/706aBfvRzVBe6ELdGRZcR1/YuG9/0L5miJHW6J7GqTbB3u4mASzIsl2mO3wl33kYlTQq9rsc+agVraYf3/z93GuKxMeyvj9o1sNn2mS2oBg7ROygceNy3Fdix055/HkYLCND2ky5JCTmB3MqIgtmkNiJUPr5cN4kuGtRce+vBuRzaAhAIi/Upx0nEDSn4gFfzfWmGfPmzNpRCmQs4E0nsSkO2iN8BYTKZnsesAmjdJ713jY9z0ZUAZtFD5N50F8OdzVgWtQbDVy0QgU7iruGPxLmMGZzOywjTta2+IwpLgqMq/5SZS4cKy+dN7ncU0YruGrizNEmfVQw7PKd8Kj6QzFIfhIWFuCNTtSNFVpR9VMIZ9nr6uvev788KAA6lK0y+rWKjMJ1I5rRd/U/zBQR+5cV5qi3LJInHADPg5/i0JLk0KModWNqiUmlxEvL7/TK/eEzh23B3+hAuB/LmYRGKeUFwYYCqNxQuW7xalcdBHFjuGlLgsEtm1XL1DdNRgntHha+g6RHJd/crAql6BuUmCSe+Rdjr/pX7rTCVAs0QIxQUMPS+GZ1G2yukfjMtUne6EW2aExT1SbRCeF8HRUy/ZXeSZ8fKc+5HGVdsiHSGvCsVrTkwNg8z0p7joqNLWsO4RLPNkDpC4rVB5fbdl9n89lm6zzDEGPryW9m7dYJe2x2SwbMEyEO4D6Hn1jqHSNim0FfPOPDM1aPyirx3Pe2HUedGB0IwNKoAzbZhWjAdc6YCpm6c9Kyhzod4Kv9T31rmYiOdIdV+FZQ5VGEhn+TkiDnzAI57cNgCGjcXzesb2TSFPbpA7pZr4oabzZb5jhmKFRNTu47MXJw8XTi6lnbi6BOpQ0xFizaM02oqNVaMYlXJDFjRVWii+nS4ZyQo5yducFFsRUy0QZv5j7PXlZWTaiIpxkFqX9SWZrnptxS+LYdrXCftCw1P4vYfd1Kskhu8r/TSyCiVvF5tI5UWX/DgTO+v8Qj+tQn4RIwjZZ/a7kuLiG2YZW29Tfi0+/MdUuq0qbUIhzV8MmuDwNVJU80ANpDh2ZpHQOQHJdsHl2pVO6zQZdU2NLOR86eNWJP5aUrTTdZDJpHcj7WhqS5w1L2RX5JkmmApvnny8ZBhdOhYGhOxtc5z4IbJWvjQ+fC1jHdsG35P68l7U7kR8HKODxr2h8tWv/7eZEcym5b9vzvmPDMmjVW29cNL5dZ/NC4NloUDMZRMAlmTZb0hyNNHq0wwnMm/XX2n7A/ymjF0Z7KKTRs3HtZ1u0SZuP0j5UIPktaW81IUp8JTtqIjnjuUZ80++lmPvPefy6zt8QkX2MdLRY+yWxhmjPfnV3kNy8d3AWV0nfomqYrdBbSCiDh+Lb0Lign3UJJJ55DTghf/sb7y5PONdECYrvVl/JKLpE0mTmObq2Le+SAq/XRy9JuO2JX1u7NGZqntJmJYPG7g1U80RlThc0XZqVxyaG4rHa0vqAJUn8gA9Qh3wDl3Wz4Z2yT6oHDQawFxTeWvoicwi2JUkJdjDVlcUUT30bD+mgR4B6SSEF83jIFT2tr6i01qYiIZWo90wtcJn5tvyQlYsLPi5r3bqKcvac/1Lpi9SX7aWNrVeUtiqrJm7Zm9C6FN6AOcM77PaaZbx5ZA6H7l3/sFES19zvhkt+XgptXfxZAnTYiXcEw9MCKFnMMgxSv0A6c/yN6djeWS+sklS4J6fz3mLUTcnz19fvn0bWsptpxvR56lXF5xHtKrtSIABhPUzKxz7ZN7UmigMAo2tp0acEemSuIO8sLvfFdjneL/ApiFGsBwZPt2d2HvQTbSeHYAqIVBZ2OveZn4wwDVnJ2UW1pBug5P+CrzYIWWvNDY2dgEv7VpbGmcTtMrSUSasnO1PK/AknSErVbtk6oYjpoDb4dxhbRhSAFsD2e78Ema4LQwB70/GCHZnw5KT+PvhJ0KLcAIyqdzTmtNk+02ti29jQMyMQYID/h0cyxvBXlzCEpapzpx8wJydKd9FwPBiPaxwjKQTY7cNHJXJ019tvQBsVaeHFuWOttESmdodXo5IhuYHFS5j6VQ/ablcCrXKcV3FyK4EuTgzR882pUZtCdf42OLUTtjC6E354m2gkCJ0+e5KjiagkhtxDtnAlYoRZyTu4xfCBfOR4hg0XDM2+vUAaqeiv6Y3VRiYv87wTePHAJIoZqka3pyAAABIw7Zj5RhJsiiLnSzs1JMrILuwf9gEKgdEorYAWJZAPHq4V7J31umzxrtUWjICz1kKkCt+gBF6gBdKdn7Mrv1TVTwe/BmSweWrgO7ekaC8AylWe27WuqHnjHt2uLL0gwz/LLysuCZGIZDITlpavbL7JQo0i6ce6u56Uf2vDl371v/vRw78lWLCJh2mNwtcNVH0ZREzl2KFfPSeEpVUKB1EmXIDTSgd7n3L+ejLNp4zuI+ITbs8y8tB+50IFpuuN1JBdvuCLnPtpr7wWsDfNO2unQFx7Iwc9a8N7ZHFA8MZ0IDk45+HM1epOc9wBOTE5JVDagTzV96VUvEizWKZYzwiFOXhuel+9n9/gtQ5l2rQeM6UqQIqvDjQptarDJ3B/+naKR7NERyVHVJfG2RokQcS/reVAaIVHQzgnHfdnf/GqJQ8Lg5O/U01iuFv90rxvQJ389chmM8XalfZxlb/IHHv56ttwfa94B96ICgnBtGlOFX1vUdqWXLQD0TYafUzx2GBYxse3hMFkUqHFk/xtmDaS4q+NEXkhGLTW564lTIu0IjOd3otTK0+qo96xA4OcijUIjyuXdsqllfOXFcXDJfOMn6HLCRxqO4oN0P7YlVCJBbabNAjNMt5CXzZoxdWfLTblYYRbGTsNZmxsaiyyS2y7wsc0RvRzFKtD0/V+SZiyKWqOMjpcG4Wf+tOlj7EVEwV0FcyybrV+w9Oktl8f9I33ANhoGVQUPinJiIAzGRtq8qL30UlYW5Qhy1JsVAFDCs4uVA4qEaKugj8ocN3U/JFfNxJ0AbCD1f1l/Mv3ZcRrWnR95mvU0FBb9f2FLP/bcYf9Eo4rFRKf0u5AME9yTNsij/PY509PDhYibtGXjpB1P5//yqhATHU0JUdh3jev0nf+EPk/X95QSUYx6Kyxqmm2/VomViBhHZykWyax59hdoOjVh8v0kE4Vp+0uquCVePscyk5f5zeSfiQpgqDdorAUhydVihnJw5HYUVV2ZkYUwKx4tIEC/6n530/vot8GTLfChsRaJI7TdfMYIDK+UvydBri5DDRRVGH/iewcjQRMO0WKPbc8xkIzLDvt9+XLPH4uCwgtwJAB4DvfZCTu0bm1sUpXXo48cvsUUVOs+0Qg5ofV7vSO/uykjukfzVzXFh6Wc9TlNCe5+Wm45RhOImFurkZXyJ8MgS7em4w1oEu2IyuR83yy+li1i1Kc1c9/qDLCqPS4r0CkuVssf2CHXpvJHe0FAlIk9BnIY9rKmPeUG8KJGTUqOrpEQt7RiSFfBALIm5rI4me0LOQGh0UlEezUoo6nlkCBD0TpVbkC0WPMMbruCesWslWsJJGSrGLcp5hJgrUaPi476mNhNWsZYjxeK/Kr7+QMeN9qhhcPhqfmX7bh7Wtr20D6wa+kvOdRosTNvglNVZXuhZMiqtJf8RGscLDo1w/YfSxNU/eOvRrEEfpuGu5SgyrIRCx2L0CziTHDA4gJLW+LZh1/KIDG7qwilE2aYv+FcEwAxym897dVvn2LEUYl254bwsSVtJqazl/LGTUpi/tYa7472zTdVKRldlOaiEkIAZGZBZ5DlP6TG4s+S/jk4TEOr6giHW+dxD57pbG++1n4MAysaEhCqVHanbCgF9jNROuc0DHOAGKQLdy2/n/r/KkCG4ECCVnqY9ri6AKrGeIQO+M0fG5hET9FTVBEW/Am5FD+pwHjrO2qG6UA/sAYs8iS24yqt5TyZ7JJfnQcCEHzMQ6V2UXyGp9zAF2DtGeJV435KZWruQzU9Kox/ZTAZGHXTfI41SSbl63NRnY6NgbozLCYem7+gjXsp+tiDHYzg1yrggvHYtNGc7gdKqO2mkcWzH1B2iDPpM0UgPM2+1+m7g0rNu2xBLccFsI5mFWmnbWSOmYHbRY9oNDkjJRWTM12tFrRteG6DK3IXC1asMUlc4D2RmzRIcOysLKO+y3YpxpdhXWqsQSuGB7H8vsoDhx6jyWwXX/AYF9JtikXm/ucj/VDxHlKDxCT9gHd321fi9gZ9ZD7xytvBQ2/REuhrc6+HYi9ZEb4fkdzes4B0sx+8Uk4QkR5y2/jQlfgNuwjI/4WAllbzi16/Wmv6wFU1bxQklOnN3dxpLEGG1TkujaLnt7ZdJ8p0AcZm+Bw+niY+l2N8xp0ZcBW9TE6aK0e1FHrNs1jifbtkaFJNRaTFcCdm3Jcx9qrQCw3yEJ1C88kOYYbULFPB4dTeVysxKYQGHIwwi0hZGQsB/w+ZlJ4bYPBqQYClp/XOWwsVtoWoZC7ppwOateiUeewQ9o+XvG0RFtceK9jyrrEFWA15Gk7UeMcuB9gPAPUafcf0WKCW+e9XWpvQTzt5sBF0IuJIg5Zz415xRgBp9gApM13t2aRgCFKByZyUMW8iLJr9JMaAM7pPwGBU7+dRa6UMHLnrTiEqsZpksoHs6S0aawa2euNHboGv8Kk82H+P4zXlvhA4re8YqXv+KHB5cdjRF+BKqEEfeDFJzH2qYXtpOQ+Xdt1XZe5je9NVaMhn9wKvNxjn1FZYYDmKrIi/m+Qpu2ph58DTNlv9B4uMdnopKX8rkFq9X27ZycUBcuynOIIvC8p/7h7ultZDneQgAWp/g5tkF7QvU/aSys3D3Gg5mKLa1pYvND77rb3I63hwHGlO9NfoVTQFrHgk+I4I42ShublcxiFOvSPmiv9KYHzTOaonbKd3RcVcIIv68OLmNJz7/FIxMaa6UaxU9SRIc/HaBfaUOr5NsdDJed8DCpRJbUBeO/j4YifxHDo7MGK2dYWp61aIxoF9Si/dHgbJ0UANX7YCvhEdulMci+esYlrKiiIHm50gDgN16kdAN3yj1dVK/m52I6dHTQuQMe6lvk0XTnlNwXCt/a+gfGVNp1afeBh1TUoN9jbZDktUqzN9+drNQB3UKZOrn3JuatTsdJqFCKwcwDyvOhtzjLvYxxxQzO5bqh4alNiodFEukrXZWVmPqksk56hy3PtTzN2W4bUpFd9JIozvvfyRd+VGVaRMLBKxAzDzAz9JJTieaCxMMnlmWJmZK52Wwa0xkjlAo/ukW8peT/mQjrY+ZmqNAhk5zbie/IrMCXVHA/FwqO2kk6AKYA+xCgfOrcrm2hALN2Nu8PRsCWq6kv9Xhjla+T6weV/U2ysLu4GRO4WYuRIQ0cHVIWwNYeTEq45pNo5kJZ/u0ANB5uJdG0UGX7tTNMqzuad5Ghhwxa4xikp8sDtFlaIeZbmGiHs8CHj2hiIyODYRHJJjsjdEbKdsZbGRb1McsFBzMADDOa4IEjuC2WHCcU2EY95G3yBacz17it8QVTkM2d9yTcydhq1GULKv7hCr7aF7Ip6aLVObjwKbOaK1vUJXCPaPwBORFLQuNJ6M7pyvdEOkM+ADors/ldetJPojjghRi6BaB8Qd5rLqeOug2MdOvD07qxh0IY8ycL8BFyE3qgp49URXsoKBfNYv9ydwf+ISI0Ralakc4HgbnBvQJRv3gZrayl1/Hxt58gO7ZD0rZdE1rMsQm89k6Ar+46+tehrw36FPU9d5fc5oIF6UQkhQBNmOI2HyIbDJ1bc5pWQaQoQNXCJ7g0w0i2KaQa/TL7H3Yv8LuSJ1ASHSt2Oj3U7WkDGzoo0yUQ3K5ufwF9+dpzjsOYibtaqtWEdtYvpV+pkGTH4VsTWbj0cKaGqBq9p9CSOXqw8dmaEWpGm/q94XUImnzi1pikuO4EbknB/KFt0kv0wFPRgc8+r9Ns/ew9UeQtP+bgjhgxLyo7teyCTJO+hhuEQzSqZHiZXMh2GIDethQcUF7s+qFU0LCPX7l7+yaBLN/JH4BkcnlZfdNGHW1tUp+/D0HpQkVZzv6ZT1g0JTTG2pvtSKWkMX5reZAWeQfCQvKJP+aCVWM8uB6NUApJiHvh+GT3q9q/lAnXaHSXSL4ogstW30KEY7kno9T4UeqOvyYFtM0dVJ9r2joRhj5zGNEkUXGXgvjKGWyB8LeqQbp5ypzPnMcA0GAweL2IE0zj5lp3T8Gx8bOgeehjPSXOnqs1OHkFmtmPNUTQksXOzcBoTDs2cyRjleQAgvz0woeTtpPEM7NVOzqXV68/YzRA2MmpfObopmvIU6ZvWXeJIFcZn4AVVxGHIzLZjpXpx9Cf/9X0imqYrHvo9/o4WBbl1SI+um/hc33lYTWWeRVnJhRwYsgWjpg2LoRWJRQL6PffhuRjDhzsoyMpNSlkrauBEFOZjIGeNekrftadosj52OtLXfPhHdm6FnqerhX2TYREMBusTxUPK+5ppBLBa+g7TmUXti6zN5QennDi0AkxmlE+lVhg7nZcQMCqE1kurmia0BoulmtHvwoQTtyz3wNOCk6nOWSKOoFI0fgimXUlX9FFL0s+9/uSX4K2lu7iLem+HsxACJzkOP2X4A1kAOCmK5oaV1xC8n5riDoh7DeLjCnG68qX2nGDVQLBz3AR++ePXJvwMSNabF0W8hwcpyy2hA3Au91eGu3nbV1VnsaqHDhQ0gyl5ijYjSY6//mVgEPzcVrpzyWTH1JO9ByZc0IKQfsxF4utytJ4K/XtedfpJyRcckYCF8XC/0w3vahYwyQjrupKxH+NH1JfuC8ry4m39Tz9deadJiLewr8Nyq4ztpRW1hptRDIY5LKvPDEG/X2IraQm3SjJsC5lRXr7xqb94jwJz5a4xzeuhjvwsYo4WdHffeOB0PAbVD+e/bDXDbJgZ+x/wVYWRViOQOZtqfMNO8OoQ0I/f7V+kvyxTK4o5dbqcqvYmxmY8eNRO2ODB1AWVwp+4Q8pU3eiBk5RYS+InpvUK49yMQVjmHq4tI8WV+jn0ShlYZV1dSkduUmm7C8EXr4+mcJQSNXzQzJUku4ISZ5l9Jy0/IgZg79YLRrfudLjnwtQYMdc9aaLDrYnNmfjzvS93zt5KZLAXr0J6WUM3z43KDQZ3MvjIQuR46TwoXx9lPU+UXdS1GGoIvjgi1X5GwN+DfOOjSTsY++8G9Auq4P+qx5Hs5Q/1C445nzIn++uKQsBTU7f2vYz0OrllKCI/Go9tfDwb7lqDs53AycETZQGRoTqxlZeZaLxjvXGhOLyfUIvtcUOrIos3CAuLrF/9vTUGgThfMZl14Lqp/hJH9beLY5fBC4Ey/BASYsLT+9h8Tqo4EHNmiPfJcqYqf4u8kD0AvcX5Z5anLN+dyvOabo2H00gdKdY44ggoTIX2kUxpsDJV3M4LGduTE0ahvnM5F0YpinXNV5Hpl0BgbkLoPVSVT+ocJRJvy0fIVvrYcpwzfcPq3m911ZJvdFNyLmUnN0BOVidzyvEB/QDurNTau/Vt8r0FKZMEWLk727GpKEWHpCask5MQxVijWPGIw0bIZxYCdvHmgeBxcU47V9PAMXLsHlBre/o4olkqtWQgM2T2tAtdlNA7JB62xdeV5D82gVoCpFXUlStvLkDSiwKav5RvyfDwosRfOZJ4XzwqkDfuvtL6CRfZmu+67JnXjLMuNcOUxZqnx+TMhzZXicuKSgtP9/0mz4S5K7YPL2O6C6brBVF/PcUeWdwubpOxFI7vQ57uQHl4ySlv8JZGjIdOUPB73HZPYBUCLAVEFLcbTajMkFvEQlAusumVdjCa1zcduKeIXfBq50q1lLReKhuiYlE8REx1XqouevLUi/5iFYYp9N4AiKJGF8iJSdLHUZzJP+VLSdDvX8rPr7RT09xmVP3UXmUBGYrsiiUrD2t4UrAD1Dc9q7V/paKmFf65gJQ8pFO4X0aVNFl+SKg3FvdMNXGZ5y3gO1O1RhCvhkhx8Qmhbty52CVAYPVxRRl7ROMniclvF+rdsxEASEs/3QhefoNkvIyQUV4xyE6okGUsEMhZ+bqViFWx6GbQ0zPVHct4ZpnSOpOP9CII8ItzX8z3weo5e++18FdUZD3PcW175m8E+SiutQBskj+yyADMo+O6+o4zxu9q3NL8ylwzoMA63nPwe039PfW3yMPaOuomOiSyvtcyRi1M/oSN0s+4CvGFcePXxRzyKSSw9USvRap6yLKfp6ICtL3pp9EJY/oHKtm5PYNcIjl2Xfs3R+MqLyQvMLaYhoho5Y5iUHQmnfAouiPS+CzIyyWnAed1xKY4dlSjz+I0foZrCKksYaecs6LMCVjNs1+owy/lgD66Er62tyrupekfRpLmFN8cKfGUR31o2NHSKpZTPOKrzrqM5SSSmwe0dmxVG6M0UNcIoILffTVVZ0q/SpB1fKI96rTEcK0yZtz4ELTHPbKHEc9hOdANY3nSAKb3cLGq+C7GVvASvc1fbqQFz+kyPANG+Yn/1ideIZAGpWpvIS/kTajp79wVD9fCQULrZEhqHvWeZatuM74ktOUbm374bu57Y8a3Jg1rjxCMXLeEuj99UfA6bAUEDJgX5E652sbsBxC4PeiORsUVzXblU15utalb0HT4NGHBhpqsRc0Sd8gAfLMKVHy/24ZDKbhzKFbtLireOE0XSjfzeec8cz6Lc8+djCSC5DI4sMlTFBT7qaan+AcqZ0YEd8NroHo7w8Duow4p8Fwb6eQDsz4FKFIEsqdWlfyHIFuhX/0RFhVraB4Ftan//cS2evfY35SV4M71XUsa/4ZrwkvhMTY9WS+B3WiLv7+rt/aG7K/8PdEP6vsR41esXMNZ3F+Y/3YNGK4EfeA7/Xl/oEp5nteSVzncOTq30xk2PIf9P5zEv7CDMEf6WLcL8JfALLqSAM4cVqK7VZyL4XgL6n8chNk29S0XK7BV20y7AgTFZ/T5vnpm2UhQWIcMr7hDzphHf3D0h1CDPCRDNiOVDciGTxtud5BclyPc9Rc5h7McYxriBG8KEZ3evryUS1shPVixlBcaW0L/W1OS6mwdby3XZKc2/TveCkQNn8NIt8LR+bZO9ZEsLvEyEov+V2U/T1m/IPXJnbBc1M7nKMWq/C97fkuNYu0ZOxzdS87ABldWIXHMVfeG73WfaPcsohoRxMuIGycdvwmUPX1UgHKQuyhp9bcrK4BnmCqMfa+/3ZTDRo7L9XcvYTyn3LUnp4Ph4U9U76Zg52abtEWd4II6Y0eC5ltpbGZQSHpwrdd4f57VjfLvLpXq/9rYl/Tw9MGqbD2b83TfOF98ozcoVWnA72omybw3an4nvpYHnaELwIIG743OY/UBd9/3F7FLlgJIng5WZOIgLO+rSJoraq5A88dRsAHsBixVrw9PSOwIeXMWZOjva08Sca4479Egl7TtLO3ntoZFq8/hlPWi1vZ8gFFYNYs8Dxzrd4fvG5rFf9m8rO1BI+KiIindRIivQf01YD6XwBf3zD+mUmd6w/3qAdMNOxcvOVTzsm52cD+i5gd7/EBiFf8aqGWv+eo7WYu+kORpJ14CnQxxHYzwxBvQWj6/Cc/OGtER/c3FUAuBXrBsk+XD9OSpTGmsr3QyIN9vwnjrtZedYugAcYsB6hhx5ivrGQCt+YhFPPhqSsL9L+f+4Zm7GomyGaM+AzKlTKfcFGqythA406Jv64fwTslntxstjF6ieH+XNdgvYfbIJkhnu+FLnrCZ2mpAimyOzuaDzZ89AirkrQ4YuKu4JJkvC8UfTUrvDPNBN0GOy60rJ/apqy0j//nyfY/y1tWFcG8BsMoN+ST5/kelXxpdoPeS5bpht19jd4uC/K9ESUxDw0fnIa5lLCq/rFFrJ1gaOKOjENcq1893adXWspyNuUzjBctb+eUVnbANEMxEv9okGvm0CDjs/yUmMZyMDpnhumsxjkw19ZvMffIyNnslJOhZ+zoIUmNiNWKxoPQRhZuSg9xmzdZXemDiqDZoDayIGynbBiyErarw1Ag/r8ffzI5Kk150oUEHn34qS993vtUW6A1x9Y5Lh9syuhiynXk1DsqXGDVlX4ilqHBV79R1RTM0Wgj/mxi4K4URy75LJiBIodTHfioC/JMugIByHwRU1VcIyNYCkTkDkBZJ3gH+PBmDscuOunISRerjb6hSnRngQ+NISmwwvb1eVzLV5hZ6b1ClL+Cz9OvPtGfmgoORMJfoNjFhHufS7MwvdRR0eH6mhv0leVdQ7BLpm21L601BV/QGBtX/+JSYi9CzkLQLcbT1LrxSpq6Xp3mTd71GfAGNzUyefBPpKuh1907cdFGd2oyWT0TPu0Rar5FzFuQhTeSRR24Q/N1UNlVpKY2KAVBAlPbbdpn2qC51NDfXClT6hmcHpNxuTFCg51OSEc1pb2zzsLHbSbGWN0A4QlcNbAVLP3oaoxivVmipx9BIsm6ztM7WC14gletFsI0r77wPAF0AsvPSG2DPJRG6ubcXx8UsXiN8hxvHzFDHQ75BIRscptcW8XL8flvf8wJdjZpx/xh+h4pJeDrxKaLrJBv0o94zpDK8BvAzxKo1Xz/FuzVwVIwvWNCrwEp0m63IaOE0Q8ECjO6Af1iMeXUAE55vuMhxruGFm6RWRYjL+E57kSxnWs9Gcf26qDQFMkq+k0frqglevbyCFgn1bxPM7hStp3nuKuwI7sYSwc1P9k9oIJ3yMmd7vYOEtskUdgo2kpLtPSXLy/j7J8K+f466icIlqrlnvIO+3VNvQh6cBCEHp5HbCMz84eDpwZJCqdF87Fd9fqaKyCW4t9jMCia1eNAO00ZZ72PxS01/k2oXZxDrnFbA05B7ELfl9mXvQmFoH+YezshX4NYHPIg4voeUy2nqCtryMMzd72hIPR1AyifluNZ7glIBEsHCGQi1FY/pqRAZVnwlk6Xjk+S8/CeHWCYJgZIP3xLVJzkKGmO68nxds7qK6g2sNbnUPaz6XJU6kqBWp+vOp5CbRAMIp1rrmYXdO8uqNk3FR5UdPQuGHp9ZUo3uYf1RzMJJNLb3mCyIuGG9dctjXoOBwwzbf8f/1lu9RdKQh88Qw9EtrOBbqg6jfbJGzWxXfZ6gDu/EUFRqfZstxeFvlpQWKGn4PN4vk5vqpIAqGxI3tEfGcbyIWvpBItzPt42dSDuWGkPwDuk7sqhdZ87OR1fYZTdjouqYleeJMv2Il5w+n8YYCoIPD2X6jcl/wPo0lgvso0wsyKg7PouGP6OXlnEbjdTf+mzMIHSCKxma33io/j0c35bAzKwruz6i4d+jkjT8q+2qT2cV5SkrbNnvjQiV0GZ+7TZq8bMku1LXWQnzOA6S5aCvu/avTxyuVJ7EauvnQicYOilZiT2bV51jIv138u2ZIqbc6ZFNd2Sii/KbUqYnN7TrLqDGv34Mgh0jEhMOs9ko9TtQBNSP0/zGqrPDiAyIb/5FY0NG4n6j1g8vdmsbr2vnaSkkTi3ECeFoRMAEOA7MmZq8XXhNcPt1tUeoAArLp5CjA7LS70J3ytuCoe0SiHmUzdF3Ms0juJ/m+AixllV3oq3RBpyoTyhO9S69iceP8rdDbNFPwwbXkwz7W/RSGpdBarhczmXD3B0l91Zl1RiNLQK5ij8pKetqwW//VTrWNFgDbTwWOyELtDQ06i69UgDaxMxq6uVr98RVOnVVktazrHPG+ZmRyQ9tUHPezX/1E7mv2vIt7ITVdGNqe/2puo2lmdWKy1ZaPJluKoIGLOYlSA/NEvISANWxXy6g+aZcgBqq/BXPJmVKuxYMaM5P3HkRYjdfs62lZEovlMMdFLPIc6xhBjKaf0IP1VmQmfFAFLdgNqaUW2bQNlIhglId9+qnAWUiPtXe1Zlsz7Gwo0yZ4IaanXI4EfhWusPj+r+EWHZBxvzUo03y6S3D1IiJrfpRDtF05ef6TQKhxl8a/P8zVsCsY3V+/VnH2UozjmhAZa3SVr5beG/wvVju5KY4sB8FBbOu5oC6u2a3IKODCfrYhLseurVyiQx9T8cni+o1hOd6FxvHHCryw9OelvIhxE49PfNDu8SlC9eA3Bg3YogVTFBxIPwIKtxdAFcnC1+hUguX/DeGA86MwYD8qaW7SVv292cdsJwgMb697+Wj9u5f2p4xPW6iLMM2USn4Mqq8Rc7D71YCDWJgLZFgCYvhNFrDj1wptkkfJ2j2ZphS52w2UW13iAXeDvPsbXHXCILUEynmEFB3n0Ngl7I92YjcgyWED7Sqw4qR5FboKuIFLeJMiyEye6MiKfTosBF38r8dtFPiHNPtcxSSEZSqkcBiUrkQehuv1xbCTLvHlDeQF//e4QQJ3c2TeoGGfEAN7BCHgHP/WK28DKWYVfHTGDW3Nbpetz/oOAiWFd0QePIdm4t1ZSvEXOY/cEDFTcXvrvJj+loS9X7uafXd42EnXoWWAgQzziEc4muW3N+w6t/rmqZt9DFMaGINt2/xZwrLDhJu15xD+Bqdr3wXTu19KXlSqSPxDCmktDev0FrbT2yMEQ5Yt8GuWemIV6n0T9COXh1AoFylgbs9rIKx8rFLmFnlW49fn9O3VDy/TC9pudqkaZHC3B3ow/9t4v6zFWnO6DBhla4cLhKh3DimZVCwrfINiV3vUcgKha/gcwOfNvkg1auhlFXI1vDMfGxkXKxNRfuWynzxIMj2AdW3rZp8TeUDzOwWuwjEHVXxlpC7qApA+omM2/T9TvW/ANZv7BGrBjBHwRJSV/t97RnqXDax6DAWOV9uW6BAl/meI1/B91OsrqUOUmgedqilRhiitJlm69J6it0n7irqiWkTwcwesEKwzJP7YKFe4mBPFB9iRF5qf3FAIwg6IdbdlnXZtK8hsDwI9vewZxtptFItWuvxToEcuG8Y7nIOYLwquyF0hf5wCqNVKe3yyQJVKOycm0pOxblu/Se7XDuBLdhIWl83+TMkh0bQYEzV/yRhDLyKfPIlAnRwvsFaaMD8QSPwsOFELi6wcBGRPtstR8i4jxZVF9MmEXOYmhiXtyjJVYkaa8bDcwHso2XreCdBaCdCWore7zk+X52rRSC0cFBi3Zc0wjHZ8otnkLqgllTf0Y1odEpWDKgMeIJKn/83hCzBd0PuIGiqzVo663BMt7Yhpg3sCtkG9lltcu914RQ9T7XxoJSepgQcfHxr2VNXPYs2zHp7gNHui67sKcd9mXOKKp4S0mRHilvGTekAZqpQKRBXZ6RFoyISHY98+ncsCSX4FSpCXFu+0sbscDfEJe8oRKeQJZ5YiM0Ag1PM9IzFBczW876HAmGxoLPXL4rVURPlh+qY05lMXm5+/vwnGKh+5Aiwpugp8b6PYhB2Vy88Oik60sqobbM7WWcWBSKWCiJpoBpTENW5Q+chK4N9KTADsGhLFE1JeR1eFQJQCcec7pdJtDbui6dBSWSHWoP1/Cpq4pjiTP+RIhyXfKi17ENrvGzRDIbBbmAysgroM8V+j9D6Z7H4bznu566jeDge64bmw3OXPXHjRh/1qq9G54njGNWIAo7ORmWwM0agUdFI425I03rwYhin2DHlGLAjGbTDmLZQKCHhuLm2FTiKb218bMYZis75jGQXD1PTjuIP4PC1F8X494E3YuzujIcGIf0ErGucgO8T7U2rSMdQ7MixAgUwjGOJS4QFOBjjpH8BzGE87dt1OLi64/pQ15bIrhjzGGAQQ33moL0CQY3VI3TH8gTWLEThHpL9zmce6WsCGT2AUdhr4yj82f901wMU5+azjdNBr3izx/gwD7Iffq746FojJFKJn24+KeJ0PsLNOg3Z67S1gP8iTxNVuL+wsCtcvmEkSsCPIHgbFKIidJWE3y9ktNmtzsV3m4VLeF8n/874GUbClrxnG9/KnYN3NKpraBwN04C47iorprXvxkreWLwym0Gjj5l86PiqKPdfgSdSlI7aPir4xs3A23iVWn/up4aZuBHGMa5ls8zH2Pgz1WASJSwSc/T6pbUnCPaSPHug5HjbSpJ8aZTPnqVq1FtklHQnYBs2CFOKNsOb5+cdlNOTwWykbcnN5yFNZDf3kvKTvueauhhP90awwhN2SooU3BcqUQfSoEigiq1RjoIfSYCL9oXLWnN2FE8DNtWG7cNDo0aB3t5hp8sb3pdbDBDxg+2NUPLxIWEbiDSCcoAuPIE1d/5dxYrKCbp85/GpFyO0UVOLyo0DZAeyZ/H9Z5FE7YnFw7mK9U8IEYD2/3Pf+FjI02U7LMBacK5/Px/esiLOF5TNRAq5mA0QCxAk4PDfoPDmbfLpTWFPi3tU97BFCgnS/Rznok0LGOpXT5pAdxeOaK08E6z5ceVpbq8iZJR5ZO2/rVBrz9ZUkFfW6uSHtNnHFrHpUpoTSSUN2UsFyoi1z+C+6DQzbBycN97xJj31ErX61ub2mMWlR2dPgGyOnPsfNANAGIjnC5nHduge1QlsXHMnNxddOFzrj2o2fFWLBmnQOxvyn5GNgeXWjNWbrvGEAtsFhrtaSe+HIZBdaL9H5DuBDO2ojD1SPekjHQjNKTw5/5Pag87zYAe4GuhP41S6wmudD4fURB/fylsx2Sh71XDhmx72LVyYQMHDn7V+Cn7Wciujc8L3FL9e1uk5sQxhtaQx+yG+pZVFeG9uZWVS84tphV4t16UJ7q1LkM/UID0Vez2WjuSEAfDXvWzeuUNQsjM6l6lBjuQpG12KA3dMnr76R//PDWjSUTqRv8KP4j2ChVqEl/NHndDRf6Ms8hKjoNYwYzhFQwGjOyw8lqDNTZbbK8BBD+jxFjRfLxZy2X5JdmOa+9ePB705Bipx7Y1llRojA9FXNq21uQ+SI588Xa5kw5K0wIQnNPkiveMvX6W8zGmPgcmk3aam+gK4ZgmY7BBeAqztuSvDOeQ8Tp3vO/ELq/eiyi8pLSpdZ1+iLyAFZ5q3QdfNxKAhbZN+gpy9lVJWFcjT2Vhvd4PeT25289UXkKNi/P3OXArqcipRT+lLBgqu66YpxRGLYkwJ1Ge/+can8ULoiz+jtBUYd8TnvpGdvjEa7UwuUrf9Zu0hBEnjqABeoQb01oZ82oE7sSE82bWgdJAw2QXSI2qb5T7RzfVpf+GCE7BQEC2dqJ8W0IxdsNg1D72x+wQJwH2KkivtEfvM3sNCqOOQ9spjgXwK7TzOG0Ux9XTczgj+w7bj2AxSMhvO2/Uq+lng4wYQLNFVxQ85rPD/pThyppy7Zkj2jP7m3Dq3apoVwT6UhP4G4rpUfHQ7v4wWC+RvXGhmEypW9tiirGl3DWpbA0a0vLnqP/mDYKGYIQEzyOn5wt+80fGNy6O6LVYnr9oeUMhuvIMBDKTswNJ1Q89XxUHcAGBtdlTnpd+pwciuv6S9dMyoPW0M619/X30dL8iUeMkLoCp1Mcmdb0gxSNItc4rdI0kHQRQbdeu2rdNc+nVDwKUg7qSwDA/NSKMHJykYqndEAznPY8WfhC2UbJbf3nl6h2fOS33samQFj1f/1+lMoRaRa4ZTGp/kkSR85gy0D8al8qXDbXw89y1JQIkyjXvCaqMWeMXfwePrzed0o2tfDxmMz9TiGO9G2K9Bmay/RvAsyrwswVvTBfYv9nH4wmllXD7UMoiokvZH48IYophK4rHwIRR9Y9SR0ATOmJvZ+/gU+x1c75GR/dYgEqQ5KLdVj+V4eN1bWh7NHtxYixDAAmqYSD+diwv5HY6QNo9uI9rVMfCqZ+LGZUW9eQYsyrjUQgu2PCG+mRmd8aRlrhLJv0iZZ0SZAxFxXdsPzED17NBiSSrCDd8pyupSVyFe/SaGlY1988uXtHWOzhHaw4FxLbcuk6wSBLIXAB9jXhzed0cXaYngiq40j4O9ol1CcttAgM3MOfbO99ZK+0hqu19gCli6RN2oQx+Xy3rCx1bF97tXfEbnLuvGKhtriiIeGG5QDHJTEv+YlmeJMeWQ/QfcDTLvlfOYx1JGHtwXaXAFmQ8x0hScmqvWUqMRBtvu93uqPEE8rLN6eDsQR//RgfoiX97PYqKdyhZbfuDRNNZbHugVzcsbS/fa2FJzOIzIYRFT9PIIxVOw2MKPDxDKZ1faz8mWPEqAMrXvQCL7Ky6zZFKKgnkUudnCcW4rcvv45e7Tn8jEXSG/0S1+ZFO5yvUuUw6+DIlWU0oNWLoHu68JrV4Gni4+pEMNJlP4B/CO2V+6RzP66jX1URQp7wznfWYCBT0jmFlXdzgaCSaXys2gRDMfy00OqGleCfGnbV7EdVF6lI5UyO61EXPB3J8OdOJ0eFlCkf2fVWGtBjKuNSvxdxsehIguUWltIKFLS9N/88R3MwCK84yQSTv3U19LTjM7wUdswZZ7NIWiT54W8H306yBu1ZOOgTp/jTb28KQzmoWmhBWq+BCYIXwfNRGlY/REXLccyxWKuYFganvgHYhnDwDVrm0v0ZSCN87UOGFX3RoSWns8TV0FTdOX842OC7H2tXgQxlu1N+YViWchFjfjakxumsflLgY09XQ6kVtZLfMPLi/gym7Hmiad/rX+Q7sHwuOKjq/9OkTchETWNp9XRKIWLNFlaWtb7GqkeP1Mqwhi9Owsb0XO/Kz3lCt6AkwEgPcD1vmHs3V20dDlNCBL+5EdyGqIqQd9yFEh3rFtK+Sg2JQ8goJuowlNxal6MGHem8RSLQ8OaWYxhTLqKDxU3ApjGHCp7COQgeNdn7kWyQ+XZ2AUIEd3pYky3m3FOcba/FsrGRcCQ6T/OT6oJP0CYYtSOpsKSjTG3Ic+Tsg8oz5VjOUFLF7LrGTJ7p0VdzrI8UFvY/nzB5Tu3nSNSqknDB+DswEfkpsIEYNLF8bjlFL//w8fDzyArFonajoP6NVG85jL+MY1fPzdmnBBEnf6rV4Peoxg8QGXJqpLDSjzb/NHDaLUUw9ND2AimKWKe9x3Ur+z6aGyPiXeTMY6Nz+ZRtg68nwGicUSl++cWh51E2oCabgIntDNRYVuGoG2sS2dLCv4JeASfb8QeCnI9Cf9JZVTA8GZivEdEfI6rm7u5tkIFmsv7zzaDmHJWaI6UG7xW7ae7NSN9Z5aPVfsOE0hCz8Xd0eESy5wirqimo9wzu8yyW1Ix5JPCTh5qqMV4AWFYrUpRoCqUws73pS1OtePGj2ISh1GN+S/oj2HD/Ftb6fgXaX/swI1Gepl1jFXu3whEkwZyEtygQPYGzoc2jfrWfxkClmn1IYnunPutXh1pjMrouvbJINKtrBnGZlAyg8rG2O6IYJI4nGoVjBgwGAmF4QHDwKDtl5+cmk17JEqi03+wkWytenBHNJvwPCU2uISybsjOYHwj8EJxghPRSRL9o7Q7vnMgVskbieoKBQB3IO64tviltM1jdBsx/l+DjDjaOGqoi5Vo8rkodw6h37R7Ff7Od3b3ikvJlxOibQKVlYwVDYaJMADQRmPS/vI7NAQxgd8ooQxRsTnHu8b4FGmZleOdR9mihWK8Ejsg2DzlUblMNDZ85VErzJlrWEoiduxXl6Ya9JOp6roUg95hviCcRXfq98/FvDOrOPLsy0+T5ohMTdi3sf/6UIjnyo37YFmDROdTQL6uYNMY+pLMt8WKBSimC9ufCH3M8H5wHD+15HngvGQEH4yiL78x92/pXbD3KA8A5ZG/XHjtKM6ruLkdb7+1W2fb6vvAcUJ7xXftokhbUDE4GIM2V9bVHDL2vwdR4vWHwR7bb8fYP9NfUHFum0MsrHWdBFhyJbKeqtQPnT8V7PVaA7+DsshyiwNI+hx8bC+r93PeY9cz0tQhthQliDGgNVBG25tSnlYm2cJdIPRxv0V8qT272HJDHe8yd1yruhTiamTLi8ONGfg7aQEHzTG32MzQ0KpSMo3SSZhO+/qfwy4UlYztIFJZkJLVgq0i7+h4S0A6LjoESso4JdD6JvvgHCUJD3HlYcY7h/9HnbjAvC9TWgM0fzvDwd+gV8Wp7RdnPwmKoPWdfuS3YpE2qIg5jR9qxYPU7GAap2wCM3qqyJKg8FkjgSTCtLdRrAef/8ma08MCEwve+o9eaiC1S6/nsN/Q9Z7bNIHUwHGO7uuz9eTGof3tTbF6rKQLvnXDbybYGz+e2ZAaxHyG0R1na4MrJ3mdIHulttFNf0Gq23L1tByY/uM2Y0/5NMjSJrsD/sWQCDxq+xgoG3ly2n8XSFpyuSV50Tp/uNRZDTJjltWv1S1rYgL8V+s6pFFPIutATIF1yk6vVC9yzJXThIHo2n1UbZnjMvhe73gcn+o9Sa1q6CNUXVcWh9v/hiAQEhlmdDAg9ZzGg22CJiN+rQH9Rvb+t+ShacLhYF2gL7iduot47GHqv6fPCleVMUu82C/g0C25XLhJA/NcDlrk1hK4K20aH9UHsyu8esdhBuEIfxvgF37Gszg7oGA2HQHTs6O+zh9aKPqbR4rbr9S7S3IxH/T7p39ruF+0bOUXfXjsuSB+Q3z7/FCYaJ96q0HzZ39IlqdqbkC+wIJ3VLLA8KjWIc8bGA9CsCeYaRbAI2GduNbrXexiiA02Dt4U7GaZVzQnfHKbQpWFfWDKvVi7k3LkKsUNZao7Xwxgf9ZBVH4mBXDbfXBFMLbunCfnGzEQwVVVA5AsCtXmRtegbbvg51AvikOvyo0y43k6pOCEkS9sewEyYRHJ5VSQ80NTPoGryj3JIRT2BwgZT5zrjWjOu1/cl+8ltrk5snhmszOFWlUvTNf3Ad2cFBWpSlZnp+uvfe1wmjCTCbTTflQjkqkIstLqVRfoBJftt0V3Z6jqgeKIcIb7ojqBJKKg9UPnmricw34zq0/WttvHN1lf5KPwqnVQe2stJIWUzYjQQEKQApBhAb30Tz340KsgIRM29C/SfW11N2bmc3WD4uUJ9PclIkrJTEbrSO1ikcpOU+mNw/5lHpKhoc4WPlx96S3DdaekGZ5DhC7c6W7sdD3HvQTXBEZd+N6RmpRK1MML8B73U/jFn9Zp0jrEH/QGiNCbX3idwrd0sOlSurJRM2oPHjt1meFRPZZW2K6BNHpJiNgvjXOiXa0soUeD8/o0yj3x80WOlOTf1yfN5kQySqeQOhqaqCVdpqIkhsVmwdiFjTTFjAH+sKq6ANeQfOkRT++sEp6j3ciY+xxSf/Wr885DbBZowLbdxwmXM5+10FQLPIJLvMwLojHaJI6ppRNIP8a2tMHVh7u/vcF/z9JMaY4ml6qsN0LvmlpDAlFkZ9rPdn1r2eCl219K2VpcPROjC+ZbP9r2h89vCuWNSjEK3Voc+YD8QT0vp+DBAZJwHB+mvPh7nKP+xPrMu6oyXeZ0U8zsZ1wx+b2no9ttj7u9rV3UDpElCXePQa5iE2tZ9S402Jr9+XH1ObJPh8HzoMJiDPtbxXz+SZRyqdw0xUOCwbxSNzCdgkpg5nL7Z8LBm4DM4GAjZVmG6iwMM8OERjq3uqz37ONH0wfeV7dyY8FDaVH9HORPnW5yAtwWvBqOAfxE2OiUUs9o18PAvVt3P5U46yV0rFsZJToSi1xKhPkfvThtasBEcuIPVwk+w9yIDvDOufQsADEXbmW+8L9Nu3areWj3+JT7XOfRg6GX8mHCI6lKuROcWl3KnOKrBLLNVbxxGw7poTHKV25TyBfCxqujDhpo6FrgjtPTbp9gyrFCdClOYc+VyR83UKq8xUk0AacaFoIecs0QyhTsPGuCP8lm5qe54aC6vZk/hQlOixr8jIKTY7jPc2SS71O7qb3sJ74rP1xhfIuppxIDnyyQy3gjANV8WH0z0bt0hvJkGvAko7PczUZ2lP4BbDFXOTTRqbgc2/M24v7BGvCPaoMqDc279kQF16Rp9r3XrEzpBoUWhEJ7/u1J9pIj1WESLa1sf/jHqTQtDf+79fMycX6fMVtqW2lSLaKeV14qmsObFwRSKcSta+J6HuvKRSKxVTx3pwDXr12IDZFHYLC7JV4OodoYF+J3kT8o8Fa3jHiiKZa52kYO7p4geP1DQhp9Rp2X4Hikaw3uuyHAPA2C3+8sKdQc1qvUGw7ckPOQ4hL7g+slK8cQdMP7OeWyYDYRt1r+lIK/yigglanfXR9QKhLl6AJ/srIS64h6hvrcqYCLPWflMtskZyxOE1W6DP+Ap/2axqH/lYfIrU52vtTY72/ngyXCpWzMJkrhtARSYDcjaxJrAoZZ2SvmxufD7q6aPNlg5PJgfDDF5ODoDtxwWxB/7u5LSN9nebKevvXIMZKmT5/EJsp6KP/9w9/ZLEYjiAk/6EWW31rvFVOcneNj3mokiWH1BeX1KLvYKGOWtZ+Bq3nbWFJ0uPcRWiit4OrlLF+xxAk6bFbHg4fCrFBA6v8DUc088OY1iSvEmqyjRImV2jEEQ1KVziH/XsP52VD7Qiy7F3Bc+5++L797+qk7784uF6KNlgGo2T3ZexyZ90it9OrmjuMEJIdZGDW7vnI94hRAO1nlkouj2393B35bvVskoxnwelS08nlX2Px00g01ePnFItGsgvlOFxzwOb9W/r54ulBqNhFpBKdf0jWCgSlTpBSU7p8REZWzttpmSP6vulMvFY4aWcgvD79dXZl2MN8CFArBmvUsho8r1nfw4zRN5vSA1FT+VKsGmiIyxnDxw6lYzdbURgfXojcC2/5ziVvc+mpXc8TPpLkqk2ffGIy/1JTK6630zpQWqLzLA+oi9ZXBqgjP7n+lNb2MXGXQqj2hAJziWcOgec7+hN90wdP2CUBVWRJWmYrwHt0JwrBp0uU+ikkd8M4eAwwaSH367efyswmNTe9jWU7GPUlmS5WvTCOrX5xvUguhUeGj69PlnS1sxhbXRBbO86Mnp4uWa3z/9so4+GEhrBe0+Q3d0ZMqvrWDMtDqaMV/E+EfepMnmq8rwFR8XL/DMFV2MUzd9NOjj8r8VxzJSf52c+hzDayrjq1elRDIAQHiC3YUSGXaEdF7uCHA88j+jFXY0He2yfl9DDOn1Mi/tSwtYiqRcx8u9n1B2jc+ormqBMs1BNXbzuqaJ0Xr760bqSlJidE2kNML/awWEDlD++qOnoPhXGNh8flfdmFJuYml/9U6NsxQni08T1B+wxI9nxUsbSbNsw7XQ7C++72e5E3GJP2lMTtHoJvzJpkc0JWR1dUXs5wzjhWrlXp6W3t+6uXw713EbAAcDqN1YkrS9xaheCoQ7d0+ibQsi/TESIflGWH6yfYSDjwBPwUCo1O8DeF4XGMcesmqv3xS84frg6W9NAx9nb7zwRq4K/5KBylw09xI/pFzY1IAnpUUfolbR3Na7mNB4QmZdZrfeWbetj2lH31rxBBFKq65OllFjBfDrXnIWmEGM1uL54/VKge7+wq+WXl+hpk9/FHPy4laT4Ya9NvXrHufxdgUXbNATrUCeXxrjuysV04VGVBgvLGTn3qQg1qFZYEL4P0rHa9l25kdRjm44hpM3S0JNNQxMMu2t9u1VuCNB8sAAuRbEiau/1Pw0aYBObVoRncqH57xdfdMp5gA3+1o57fhC+0k8xrSD90lQ3cVadBzKjFZM6yCgm2314CPwe9ZsWVDgu7KLhtDWmmlVETJvxT/2IVASmwswW/gWNYwucdU4YGnGHCkE5VOlY6s/JL20G+LfSdSmhH0UkniRqwvS2yWa0LnthHnADKUIViA+qQHPJYftPjyMGne1AUFW5gEddb1b53YzpUar4X25B9hdNQiycc9VzAi1jlmqzXLDjyESrIlUANhoH3+YINZNzge71+P4LYNKrlXrlBjKFp/MKcS3/qYBc1MrNfR4bFOCseu6XQr0g76C7nIpfqvGaMrTHvb7NNk7qawH1tvOja1oPZWG3FLkceBfug3DKVgRZMuB0vGj9KVYeQX1fO9rmZ7coo7W7ARNqEYnKYFotzbLknurlDwR06xFqTS+cq66OotXj6M2qh2SkIU0O0mEDV5UlLKGJW9Q4sw+JI3HLt8VqfigCQANmImA5YJU7KBrz034RfT9b43zYT//SHo8vEUfyqIu9vqBFYomunS/8T42olOollAV106fnZJoE3rkuq7J/qNAw7HvS6KfZ0TDbWLj/huUcvBYHZEyFEnbEP+bh45mQy8qplJRWlLsnupRCSWlolb68/JJYdqGJnAKdnCufsURlstx4v+WSQHrKb/rG0XkKuuemObIi0ps6bgfSDCPs8ePQ9SCnzITlvHNfWbWuXI4x4u1nxgbqdb3Tvcq0f6B1uLoVo5K2fsVV5sXX9xsHguQfyrGOqvqpVkuBFr6VL9xg0QdJip1OWDgwUd3DsBAd+17ljImXt/XsJyzeZXwoqDp0w2tk8seet4NlJ9ecpGKIRXnLKuqlrIFIjB6rHG8umHdu1QNiCGRI2TuJTp9LnEuRvJfGhCpfR2LFqo5uJ/3aABrvZ2IHjYIai82dpHBOjNoPk/9Z/uAKA5GCL/mkz9t6GZqxSDMZeG6ckpwGX8+4rvrzdge9ex7nKk8MUw6yFKcyf3gyMsRnRvNdYtsoQ8sq22V/fta8TyDCnfFqq6o2iX8UpxFTOnDrU5WsL6aYHEOQY38dXpmwAnZ+8a4fdJkG3hcVPhOrcuEwvgK0Me9gZYXw7WzNHWmg5NWQyN4+7NKiiKC7nwoqnHmela6YqK0YYQTOM9YZDHAMMGU6P6KsRgbzEjsIxisdh/lSMOmVsi1uHKOnFPGtYwliLqp4YJnjd6gW7F1RzMz+VCek3JhMGdZPA7SRT0nggY+lDuHnwwikeKq7vHDkOoX64QQg/RVApfrnVVEmijFy8w17zT2D10q/nAOSiQsaLTHNmLS7Jw1GgPEm5CnxbOb9BpUct1t4VZh0IQxLj0e1g7f38B/BqppqX+Y9gUg0uK/uIah6HPOGjIIILZtlqabG3u1ZLYb1wQoYObwfBUSK2CwhxhvDwbr7VUMda8iqWsKqq3ywu2MkyRsBfo7xEAoB/e/X7kRqIPkuHLeNGYefagkfbASVAgpVDNG2yJqo/i2zdk8nbrYtJs9B4vCQ2uy/KEhbIDdwWFWkZ6HJEeVwbyB9Nh+WgVoR5rDY8n4zywts4ioPeeaiymIfHF4m1GZV22mp+otJsmIowebO8XOK8/BwyLKPMtfDeAOm2pcSUs9LN7TEro7Rp6PnUDVzfjex4/ml/mnVVx6bHLEfvQ6YAuyRPxbL3fIJc1r5XMBBeUDSYTg2sMky7GcWYFDIE5jiMMYceN73RM+wJb23QfKvfoWRBRLFIc8PA3byG295oCUfUkNwJBlRBobZiyiWYBWq5R33psOQGaimxXo/1vBOQh9UHyWR0Vh9/l3+Ck6Z8ApX5y7xl43GVs7KClcmFQr43zAomUuSg25QZQ9VYqG/NeNjKL6axZZlA7Lo2d1fUC1xckoYWbKp9RI/wjtzIeJOyJ1HgpcmmW38QMXtjJTXZWKw87bxe+JbBUAEAcuAy5Rlce0mIl1p6xTGh+SaZVmHyhEB8wbr3HZE3wWAwGJ9pxmF+ZulWJQPAOWQSrPHC632Vbq8mj8MGZCL/4STwifHtFMzLiGNKRwx0OYIcU7/CcV6JT733IIl+AzGtLjBj8hjT19gKLl6nlKoy8TCdJFv6FrOykEidxiD6oYxLFDk7VS2xEC90SidElWSLQ8E7+fGhWGBFXvr4400gCR/bwQ2xfaavPP2Dr1GFJ/m81vxB7IECBIF4E56bWNSLOD1l4YdKc+EwduTMrWLaxldYSNba54Q6Cz640krYD3Mx7TdAyA2Afgza2h271mWwYGt1X1eGT0ct/MzGa7SKSvZzQQSZyVl3NNpAbN/QtZLbsfw+qWQpK0Oz3WPeQukL95MWOxoOgCBdQzYDXddkf8LU3dQT9g5Mqw61XX3MX55nQsqbQ0QtBdlUuqk7cQgixhqFnUM41qRwmt0k5yI2e6EQcekt9yplYlbEiiSK11P9TufeMw+SWsdP4I0f59aJVWb1XKg2CIS1VcvE/nutU/2htoHTsKk75wS8seCLcKG8Hd/tkUrvhFhNYaSCdOBA1s/x/7akqIbcoTHl7iJPiC6vDJH+QQ1B7wttu12ErShxq9p2Rh2wFF2M48FIba3r1Sy1FY+/eQ7TbUCPirIviS5SZnkANzx6F0GL5U4Ylb3lSzQlGl+pPp8PQzJZtHzSybP2Kv786YSHdZRNtf5tng72GjndomyMIaS1OcNNWU/z6I0MVtnei4KPF2ABKP0AGnNE92qa+BJ0X6Xea5HxVsQAv/BkRsoVyvEgaia1Zd6mvtZ4vANZGBac5zG0S7Ody6XSSem3zGLK9ad/72S19jhxYVprdOjpSeWdyUa9v49Gi7qVZEkY8LwY0O5pCfpqoP0pT8GovgpnB47N/L7bUf88nszSMHxuWaCoxfe4ZQbRt6Bgi3l+we3Z5pQKvGvijtkc7aD8BhWCFBsk9FSAIy3gX7FNPwwlMiNw2midY4gzF1wJLybYW0y6mTmZGYSGtd/sryk1WJX3+x+y22Batpkc8Yc9lWv18UALsaR37uIgKH3HT2YFr8QYNYxWfZb38eKLZktnmhiS0cGYRFrYpXdIroEFbFItnuLd34WxecrdSIPbfIAA5DNTQTk116B/zCzMObY3+ZXCbIrRryHGA0v/EPfMmjk6HffqypkDE0FeanyxMTMtCkqK73jhNKKW+ujwHMN3+96RK4Y4lHvTwfg4sjFENN4OCg+wfycSKnmdBPGS4eyS6ID4rnnZ0++Tnb7TI7BA24MNDU3OPUXRSI5BXk4Nx0z7o4yWBvBLaDXFIida8AiOKKAErSp1ZLWizYBQ/ePGfgKr7SMrSAq0VLhz/mi6pAGlZadygJ5URoqMAr8WRlzcDJyqDmXK6GMo84d/XKBK7nAxSYTXIhNHl5nL7dmmkynZru799vwrsZWyaMnyIyTDc56eo5jsbg3gkPBiW5DIWYqRCRaAgWLxPev38mMc4B/AF6W6yMkKnRTjMZilqWywp/+C4ZSJe7wb5FsjDd6IfFr17sC42TV410g9nseVWoQNHJTOauMgKFkqAo6yA9KfTuowBIS13rhVDEI9Ywp+urAcnScAvQvvz5uy9oOwH2TbhqTWUwDiuVCnYPA9MTmAXv2Ld2MmLlyHgJEvExq9kFVBQxLhWf9gM39Yj2PfnjV4C/6UxHaEELCMxHngDP51u+JNNydoyEMvBpt6SYgZfVe5G+ZNLnFwY4Ab1AZA02Lm/oR9TWpakKFShP+KggOh/gy6RzrsikzA1O8Hr6qsMUc4RYg9+MGgNL6INcOJT+lfMj00zQ5tp3OOLNi5v9jUn0WFowWXtmzRGzTiftR1H3oBwtNNy9PT7XyoPPCOkC7mTJxG1M4sjE/LQhStlaZ+Kkes23KG0TXPBSNDxqFVnM4SxJXfOXYX/YIsSgAi2InikxMufAvf08HJbRMvs5siOOY5BtTKoU3VBbdoxQSpaA01J84Q8cL7ZV+Frt0r7fFG3GaPoWunZ6ffDCpqUONjOYPjZIz/lMB8hxPsFfaGHZg9cuSdI5oHpaXRKyD4R1sMGTltqiIy4CTH+e4dXxtHQvFSDloNP7zLL/+OWEK9SzyStXU52Fon6SAS49+OJwnrhmFroL14KAp7NZC6BIe5/nejFwecLRErhVskpPZNF1xQP25ESgEe9GzvMw2VTQ5H6UoU28k+izuZrC44AJtFH/PPPNYOnzlVfe9aIWT/erseeoK3E4y5UrTUe9i7TmUBSH0nQieDTyDKuS/jIfS3mUSNdx/pyWvkzDM4sk7aLUrFjZy13XlxygOGqP1KZ75MBQMT7rXhQT/hGEB5TD1s9g8+9mYiMbUFK2TNV7s/qOrGjlsXU4PThXpgyaQCj3i/h7ULfdxnyw8uhHirgSEyZcbYP/hsMG8azUlFB5Hjq+h7R46z/peAKiIWjtaJhT6FO0jFOBlZMvJxLyr2F8YowUYxjtDwXVHA8FOKZ8xbA+6FeJJ8t419Uz20qzRq3qi/922Pb/3nkA1r0Pd6r4b5ndsESVx9Le77hazmozVAFIv3SfAIhYt6eXwe4Ev/hpikx+N9nyJw0hA8Uv/yF9rcC04r1WHVYySr3MwOLE+AzxaSPm5ZSSpJQpXUCPFcEAjHI68dA08zPZOIF54eXJCoZxZ9TdjObQw3LnoR6EomKc35+PlQ0SKJ3MoEqQbujHbr/Pn7WB9tPQTenyqjfMY59/VYX0IVyGy0PC4LrqfIExAnjxw+uVdZ4b6UvGVUfVPTWMEgycnq66u0n+gKYsx8NWCI6Jh60p58vrJ5bweQ0C1d++bcVrbhfGutjeD2EpRv8w8sNMETxE3vpaLIDni6njNBLENzWoqZMklq7brGga8wS+uBY+zwHbSdBy5E5PBVE2a9m/vNqw3OE5BHZ3AUopS2fjejD0sUwimKUhKQxKSFW+nopfdBSPLb/AditRBp0x5xtsPjy11IMpE/of/poIJkxQfKYStZnlowno5EISulBDxw0sLXBuEoQKI3zpFJoTlsCnSAh4Q7pR6dTBbsC2X0lNYj9isME+vo0soTnmwkh8m28kyxwo0vlnIK0YF6x9AAjoKW53xbLbPkxi7kgtMuxBbm/otQWx33OSuI/S053FBYFQS7DS7NGoc6C05o+mu7T5St8+TcO4sM70dnt6dFJR8pFr10m70CjaW9cxvc+Hri8KBrbJtAl0jK///6MLZZQfIqk/oI4F2EHT04em82rVWuUAuAv3LZ4tQ3fk72UH3Ks+R3j+rWqsxhAJFTxQX4IMOynA8WutHnnnZ8TL2GW69qNMcqznWUyHA+pjVoHcjnBndrIip9zxy+Dlov3HYgTLJiHY/NiSV/VkA/RAyaro7OqY54sGFfNZ3QBkLLM24dnNTV6ZaPyIXDEH4FUkaPec9uMfCidxSaLkNWF4Nnjl8xBCmYdvkPmKnpdW8Viyb93K7zdPvjtsDLvN+6u5eatMGv1lcjq08KqTfXe1YRkDS83bFK7LKCkJHluVlDOcsGxlsobS4E0PORdK+bJPmo+pN1vRuoP+wLfmKOxeAMCYNKs3IVuQTUbsw7XV752HNnxRHJ6YDDW1oB1YIy5Km2riAhmMPoGQ3GvbWHHVmfpOIXaM7CTJGcjcLGP/N0NkTmjmr4Ir7qqZ5Q+Ejfvwllplomr6bqmSDDVOQaDd7MGTkmnsQJko/wfiCtLaKe16tjT7+XGepa0VMHX+N+e4IafYwmF8pdBgs5WcuJgBG1ciD38XpKqHElra4BCxRDllApDnTQXhvfSsXpHrO/jXeQH3SB7cPtPaK75ah84g9hpu7SGgKf6+glCRFOu8XVq9XKaIjNNwDlZCZush+pGSl1l+eFfg1xa16657YDtzuLZOaSDi77TqA2KS8gF1/coenyP36xqu2JwPYbHyD0Pn9Q5+QBRCZVuNF0ronoW9N/EYva046u/40TGGjHvP44HZ92bia8n2vlXkWRDYZ5FuR/9Ed98znQBuKkOJ2gzRZYWdTeDQ12TB4+c57JTxc/rU+bhNR5VulAv75nFtV0nVTbLt93LPsy06da/hsJ7KvrUa6REf6Uxb4pzu+PSPi921/4e27Dij0b3BiTQU/3e1XBb/S2n9CN++VjG1I+o2OmlBP7HK1DkpxljY6GPuY+FxNRI2SGyiwaN+r2QO5IJL8aQuo0YWTJyRuIFVymGdbeJyApyjcfJH0SBABN3duBHXk0mTBX2cRj5/I5UumEc0VtIGd1Pu1V0prgeqVwg7c0vBNvUlA4eHQX7goiH+gQmPe7yiGx19nQe0dlcD21FsvmAJfHW8Owf87NpFNN0AlurJmqiV/4v78qSV+WdrhXPKEl/a+No5At1mU8r1UgXmHJKTvxO3bqajwmb5QeZ66mr0VpIp1F1fIxbsKOvZEJ8El2DzS+NzGyvdrmIBdQwaC3m5jKFbensDTohuR/4bEZUuVcrM97CjWtvoVNh8nE8oeRubLtx6qRkJg/a50u1WHlx+l7Ns7YxulTymzMTtfyJiEQf/ic73YLoU3cBWbB+eg5l0Zr/Gyu2Tv2cymBZRmMydluiSrZo25IgMTc0kK8Uls+ST7ycE/EsysmriS/526Xx0aV411lof7eZ2EVClYTBm1TL5j7cESg/zWTQP9n8rV543b9RAovGf3oRmohC229TbCDmZmv1vv7p8JCI7ZnfgMfCKiAZTi8VDIwctKbchpP+jNua8J4ZdVTIxVPI3U9tjzoPVd8pOC4Ow2iWP7dkg9v7o7JtGfYHH+WniiKr6sv1uJ/sIkYtPETbWJb9q5k9Y1hOf+ZgX2BgKeNUlQ7Mfj3z6bVaJgA1J7vskoaTS/otUnwSjNoUUbUgei3HNAJfRlcS6+ErD4PiCV7NWV55toK8WWBy6nuf2rQZp6ejkRhH6vCklPPNB+R/Q6biEl/KdeRnpiDf30JYh24WZn+eUvgAZcRDroFZf/H36Xdz1ookP7/i1xirtiJuyflPxESPeyKytUu9YmFSgPkmYO6+EnGhJ6y005qQDVNYuvHUUQOfL2ia5jM/nX6ECcm81AlXS5A6G6TBYFdFGwd/d/CsNxlRfxq20yyRzX5PuVFVCfYZuT7cuZJH6fBdUatrAVfZR40f88GSbmQHO++58m3Sh1ll3rq3OMp/Zmrfrkk/1oc+H5hP2KtTYb8fYzO9qYwQR08WoPYphO1EOije7NcAFupI24LWwtC4LK6W9UED5ZDbyFsnQr/PNSjD4QB0uHkpjQa0nXaHWTKp1D8RfylSxNMNZNfnUXcFpvxaTqk3h7hHBNiuqc5Bpg/+6XwcR0RTPNDqQbVt5rE+hu7Yp/Hob9DxHyRRkDwTdl3HpT6VjwwsjkoAAJ+wgEYgM/msxUkQBT1URDk5NQzlluY2HGg/I/EU/yp/4TG0B4yLixqgcJJqtSlrkuVara7y4oRqowagu0Hnk8pQ+fLBc+yPCWULkw9ZqRT9Y8EiPNrqW8ZRsffLhE7ETx8d8DRkniv46GYxs24Iv7l94fVWHf+5EJrMJyORF5Vwp2B41wDZzPLqbRCYMiEejNKnHUFTKI/MUqxLdYqh2cZNwmVhEngFlJeHO87JahoqXtcZ1fmaGN8pwR/3Jveutos7ljLECPwB6PCVjB7xXcYYkQB19Su6OHlYu1tno1NSj/4QMuM2S3nwH0m6egPKD7kYKxoVU8vyxYCuza2Hwin3OaOcH13w85Ls+K2N5SrzOSvnFHgjNp1DZ9s/iPCIMuOW3sL1O6oGUnM0OSx8UainJfZh1yH3J9ElgpKkvXzrw6EyGP/qKafq3HWlITDb8+C2i0y7ULPavcqxOUPMrJx51Hqm/Y2lDOGYtlKVLR5KYN4xYkBWg1QBn2YWNZRejstmEjGR9vZns6rc78HkVbffv8ft18aXDzfMgajaH8S9cNOMDZcEZG/VPPIH8LD4PhUr0PxxmM++No9XIFLLnVj1CYEZN3xUd+zNgaakvrOESyklLnE3W23+37mDxl+9pUTPxqc8oMrTzit0D/sWel2KvH/HEw0mcVP6JrOYnb7bpWB1dpiapnAMLbWQrwCc/zbGcNykM+GzoUVzgv3yKrdI4GN55Qs8onpYghlC5Nd9hCTQ45N9Q/KU25AKTSX5TSnxmdLc7kdMJopQceQqWe4c7J5/ZuB1C9YWQgpB2UroyALSpq9g6QLQi48cwyK3hKysXXrTgI3DGtv2V81JYMmgLWFaoXUoHHhbmi3kpnqWbKhfUifAHhb+ZZuNuKyaohWWQHxOlWD6CbZWMFHMfu8+ZF2L2IXKJAf/DniIEDhh8VGW2jHvujR1Avz1EoBehXw7XkKTji0hCmdkdGl18K8jTo0g21J99MESVKZqm7CMTDUhM6CYWHjELOlMbKIUIZfUj1k2v8r0qLjasJhBTuXisF/6HNs2X02wSzXzGWTF7voVcRQ8ErDtb40e72wNp7Thyr70/Jh1hwUxNuEpkXWGT/VCCi92HE7D+C3+bbEzr4WFu2p37NeK25pzwvk696UmJG/Slfex+9rMAi/hleRRIDDhG7tSPU7yKa5lpRokgwMXjHxMHA465MrNkEm4EDKwQr8+M7Zk4QNv9Uj/dK0U4XLJjlR00YCgVfSzeFkO1R/9OWZGE+DVAE64KC4nR7dJWYkdQy6VpfABdQHH7AMzY2y01Mm9pKlOYhgN3JkZYSD5E2GUgNEchLtAbw1VbdJ+VVT0K1d4cS5CjA4oIq1I8S+j5BbMKDYysGU2wAH8hEH3LMeB9Se0bYb4k7ROhxxsxQSwd5eshl2R7HEsPHqCCPAyXsbpiEzOjsscRMhbH8WZFhR4DrykB49c2VPJUUHZfGr+rfbgsiUZoD71zhli9OAY9nHGdoGMpGE6O39wUEc2ezycNRiG3oQcBLDdXPVf2htpCvecuwp3Iw1/Iwb2r3570hlhGGQ0cwtuh5XWQQ/S/J+DQzcZTn7R9Ox2sYGXs4mx16xTKoM70KSrKY7q4VLxtec36zU4lT9zzRbP5oFDV75/wnllMfVMxiBhEWNDhf8ovVFqrXeHKW82QvXZIShLg7Kwh2qsKKAeOBZVMweA+gRXs+fWJLv1zDfJHoMw+FRbRpRT95HL4U2n/x4TG3jNBNkoCzR0z2QJwz5PQ9dqeVcqJISMFkGyC2GlE8HogEhDtww9Dkr2T0DMbQcb0sND6UxMoLzdpdMsmVAZ02jPpoI3LPMMJgjQnVDW0sq6MVYhaTTN+/l2q+H0mgoxYZaYQQuqQvjgU91KUYC4AFDDPT8Bf5hSetZqkcY53pbmFfEhi43Dx88kW6w+Vh2TYs7ObHXOxLRKA3y9uZM9bfOIiw0q30cLLSyfpudOkwGlh+CGJk9xua274LD1m07f6HTru/QRHsDB3IA955vKEZvAdvGb+Tp7KCsuu9gyIQ5rXxJ1uE/6ZsWn6Cpw4o4u50nellZqbN5DtPktpACVUowdWmlKsuCWqJgxHZQULiibAITaexWeLmauoqTRQoeuBMTN++UtjIWa0GXCJ/xssBQVKdbdwWw6zNaTtoo70t69zQEy13Z0iprzNpP5Uj4d0XrpQ5ltL7/ErOdEQgbq6uWGPoyXavaq4E43L6kXrmQU1a+usd4bFcRPlDnpaID34UjvMdyUweo3JN8tSo4VGFiuAHd7f0u7lkaAsW5kSToK7NzFz9h8TgWemBFwZ+PAFEyiCLnb9RULceXQfJHbfRoWAJ0tdsS3lhMqaNC7zvE7Y1lgwkQEho/DYQaTFTdwxDmdtXa88b3LBF41zUkOHpGp500p2AvQpkDjRSfNl9pQUIxAjTCSygsH/FAiS/3QocHjYJyS9m4wDoAYOpaF3G0VA5knMZXeiP0/9qCNhh2MuUzKqGxgOQ5MtLQ2jGv8Hwvi+e6Ye4GF6Dv9FF8Nucr9ofqVtGhQa8g0zfj893cGMpuVrtg18vyDwf2buJI7KCHdQ5uZQPLSncnMgejRJ9RmPGwmgmHTL+D3s7lQcJ9FLiW/AxeLLl7ady1izpoZ9bWgSNXgwWMBx8yppDvmaQkGIyw8mXUzwTiCuau0iNo0dhsLDx+wPAecWzeO9MRrUSV0GpPvEmWGP8uTXiTMEVFYvdB6y/PupyZmnQI505M0ufPwW0NXncBPN/j+Xo1RgSZEpKwyU1X3rc/Y/3al8di0H3HhNHMeOa2zjRjZ6G78EY/YOYh7FS/Ldidvnor7Wk5zZIUiHGo/6vTj8PODadPcUjyRszBMr5fYee4pfNpAjdOoi2eUGUqRPyPycmhJzH3h4dwNTnd4lU7YdYRl7Bs7Iv2ITyWuojcdBwAAjFucdJpo/WbGHurvXHfFaD6ZY5yLfxc3Cp+5Rqv0gVhHXJnhcTdNy/O09v/3s4cYAWtUYMiUmwsWt3/EoMl+QwvOE5QBWBAA03L/J8BLw7nPsP1tWDd580rPx7xeXorQfSsNuhyT7s9eWFK/HQ+88G67vuDO7LmUysSBumwqAeriCT6mUPSvKEYTq92GMslkfjsNqNdVeec9H/8UVn1MDjketSWY34z08DFJUJiSLLHv1aRS0X17UsIEN4EmEZ1O3BhOcb0J/6A2Q2/rRfNPFSuGG4m5G6ugq54KAS2uqAyRCwfKs/tveadMMpoI1qeMVahYR42whYSHsxgRt6eDk8HeDJVAUu5x4F0uiarClBqipM76uCSoYP2wj2fHMxWuXtv9zUV7N8OfF+qd6NVKvy91vcPSomAMYSFtmjrrm1xCYtErm8YUajRHuK9ncmK94ccZiP1wShw7BIY970BwTRJBeC8cp7iilZQumgI7N5M/ncpa3hqdqskMHibBR3ZPbj21M1VyduncFAgLwZwy7WcV1j6wLMh7QfV+bj5zLWkT/u47PucgaiJQaprTLPlEMsmzTQeS5my1JMSGI3yc8MBxVUYw2y17ZYmoiIU/wY6Ldq5JU8vyxxo4J/Pgj9CjalaXJF7/BVhT8GMfkEC+qrHNvzEwDxqqDbkAzARDnglmfGKs1z3fQ6jZKz+bwGwI1Gns1QrjhoxxnLHmue7VVTFVcDzKpKKZ6sYraA21fF3lBaBPSftv5OMKtPLBtzp3WInd40YMXgi/EV3vhhehaShrdaeZwbdqM7Gp/kXned3Nu/OeekFBWsOKMj0T2UfmynzCTR5+4P3vuh+YjIeiI/gxApwqvJFgXAZMHEV7CCuOL7zwWNcLRKQC7ckJS8ebKRTzsgUx7z+c8X0P8lunGbpZ7b4rgsvaRTeW9euOaNqPZ/gxJrN13tvi0aAiH/EVOKX8oEu3XyvlNspduJqACALy5ZDdw7oAJEpjVcN0g38WMVfYjblNVzK60xc6iU6zMTEoLZHjyTOoGI4e23TbhchXUldktxRMHATICTxuFwLOaH/Eqo6vgH1f1xm8gdGtcHU9rQO17xY6+ntx685d4oKPtOmOCXQbV3DzgytWHv0FVxagXh3+QcK/0GLy6NfnyUt9XfryhhDm4RI5vxwL4x13RpY0fuPQLzl+fMdMcBqzIBVRGVPo/lB4fAxtGjh/t6jTvkQGg/1rzTKs6ILE+3JGvc4Fuxe/nd2XwhTk4DidgPuaDG2W28MfSnELhHBTWwsx6XTdRXIkS+UwoczdO2iHepVYP9TuZEg0UwGeUu8aXxrYDc/RPcLjBK4e8o1/nNoOCaDAIzLUngiFYM2a+pmCNIGFikFun1HgH/yeyjOFXBqdpE/Q80+NzfYJBZyCS6UEDTXP6YjPTsGI6kyvwtNbLVD2U62VOrJtCh9YD3ygdZSIKRKUszUQElqA/+QyKmR2jrIBGWkHYQFGOAK9Zuo3uc6bB0jGkmzHmEvqTdLPYOPz8kyUodH77LFg+a+QDCgReFs1tzxvYKVoQqfXbld4SJ84c1TEZGbShDzMeoYN8UZyKt6wYJPij8BW8+BXzNEyKET3QdefEx8j5T9eW6wkYJ2BfuJvdZt2Tv/LHZIv6FgvqoPv3oeFGTLQ0HCESCafcNkUeR/F0AN+TsuYIXHtdMr9mUX8AR0roGYGco3DyDoTFSWz9qjghz5IvmM6ifYul7JW9gqt1S77/5+9r6FewljSF7rEvdDeSzE5EiSo6SNBa2pxbk4KaBS5EDZaXWNbXHNi65DN6214IsELANMHQEt2NyMLXnxp6izTV9fn3Hb61dRaNJa8LTp6Y2het2d9lTmaPprtQdNdslojYwYfzZh+GPM+dNIzUBZbdOJ3M3YF9h0lu0IEY9tZQWZBUJ+JGUaakUK4HfxtyIAgB4mSmKi0TWe1RqFPOLqWiJZeb9IzgqOiauL6+NRoAIvvUwCaVSMG75iTgF/us69oLbdgo5wV7BG76F3Po8lCfmWgULDFPJQEe5KJpenYjgV0bXTm+oCzf0eW1gVPk6OADTUkdx4bxvlyIx954J5VFlrLwfpc7Yn6ZPoLRq1XoN6jRBPfLJvwXFCtYH+zQ3pJ2Z59aRJpv7x3co/kLHyDmmy7NhCbzcStxUx/rAzrKYZZwkKnuPuNsHENbINXjg/UkJZT87SocrNJDsv1HUVn8mkWGl4HoPP+N/DWUjVH4HUr0oX3Pq4D2cgIl8oJr27ONS14IB6HHwroTXq/Tqari6SUnzdiJmzgweysNpLmAg5g8p3pnF7HZpn1flQgUUvSC9y6885UQ0lvvZgkvMgYjYKjRGeMd/A83eexfKk23Hnuy9Ohj09ZXFAWjC5egjuFzu1SPZozfbKB4WO5YEdyL6dOkq7rC0Vluq7yDFJWSrBFYkFntDLHQnc9xHKtXtGyyNTT423KTaG+31R50Ni0uQo5WUqMl/0JRkCsfA4rKA35sSAH3s4n1eul3MLP2vSJYxSHKDrkq5H6/8oX/zlB22g+oPdOK2RABuktzbjdaNu3FgXZcOx8WtNGWXDTB/jieqT9tncvg3Lf3UsCtzfBG08BGgDl4xUPQxTXr8acRb0zhOd6yHun+PTIeaAYMzmA9G6RNMFGQMyCzXFcxYWvVJ6GPOFbaYRpeghcvEpc7DB01eTZiK7+T9NY1SakUDwdiGjkmtKOXt6dN+vwwASCWUn8jVeHfQsnuE7qjXpOFRicbh1xr4HSajWiDwvxk1SRkySsn0qozRT1hugF60TFEMrYn6ZVoq+CBtqCoj6LdnGrjpwEkGgY2ou2XpTWl9rZ/WpcYu2RfBUa72Zb9QNwE+5FOUZJ5o+9Pk5bgPH6vAwk8SONs3H7d3/7Nou+RU+AVrOlGH6vc3Y27tPGobhGIcyrUkvUgq2SUvLoTxXdoRGnmuTbl/kAG8/I8GDuiDJzZjEMBH1gngLc/koKv2Da7I6OONzQCSHfqbUagAHOKxj6h6JIWzVXetokxhPejnwaGOnBPLDFeBRlnheZsiKMhoW4IFJPeHLsEDqSZ781AF+tb85EWq9l4ZdFCuGUrfx9pr95t6Z6kRnsuE14Bmvv1UQvCw+oJ4o6xwNZ8ESoEsU9JjMybZXrIt4oXRWTO3FqHdTsxhJ5QieVg4ELcCHtp9E+s4deCHECWQMKT9q2ytOrASwoM+wQ7OJDR8fKTveqE1SgA+Elr8KW+Z4ATkt0EskwFM2qbmUBsVElZEQtPvn4vApv69/uw5rWuyoOT/rMhsLZvzC5m7LR8eEDhlyO1GB5OGkJ4dHPqFvScJ+hYNteHdx9vDtxbkaS/Z5H+R0mUqhoi98lVgeeyFx76GtfdOMvC7ClG9r+h/nWaXIrrXPhMIj9kzWyVe8Rr6wONYf+/nDgqneaF6Flc4AB6V1Y2UCKBL1n4vuQMWxds+yhAw2nh1fq71DvmMRRf49hplLKls5Vz0UhbxAkoRdDDUq+qN5S15+/QyrWEOMBbSOROWEulhqgMJn/9yblDogzztWwT2YpPvTAHEh76o4DIg3VbH0+x9laemRAe6W4c9uVxkyXFjEjWbEA42Kb432x2YdaXopmf+usHdrkgPq2CcYVhKB8rmqlOitGHZrlNZ22SyoMygABIYkPGsMjdDlbKlvxaYSZ2l065wX1I7uN0oxdmkbrX2DmLsSaUWsMh6LDbCsGq3SNq2kxaOPZCAjYLM/OZuNn25OnMlQpcnFxM67nB8mFTOJT06MY5eXlBHT6BPL77Q1K5VVJbJO2gV+0aBboY2DBynbwV1Gb///rTypsvb0p0w9G2NUz//f+z0LGMDCIcf13ARV3KN5c9bdq+NcmOGsZXyXBwaZhF39xo7EvabXuswKz+xYQxyS+CZXazOxvsBMJ+qI3R/XffG1HQBE1DOr6mY8LNAx0DW5NcV2uH3deeAqg8wRXSt4QN58FoMmf+VtQyZ3LLI4l6/94jsVSm/XG23QJIyY5eXZOM1d7c8iqDRrEK9UBF1wxB2OhLBCBYG4fFnRgE+4aPOJqqEIR6RN3Eq5bygtCRu5jOEM+v7fXX3XjsXhwjWr6BXR0s9WS06rho98lrHztDxtKLOwfMIfeABZAMtQ4wK2e0kWib1ovfzn89o2IlnyxbAzYYFTTguq7DAYZfDJMHmCGYZyS4MHTqDft4ljkr2mYbBWF2LtL++UeERz0AViJb/qyVcK8dk7SiE3C4q+ycbZd9lxZrXWbhRrAbjNn+361qJ3ilFXofsBVeNNjVApP8QhymPZZgVPbeLw/1bhwXPGk+nJxZMbKbwVj/kxgYRoeTjJfdOTE8UQgs/IEgqataL9dJNssWr4a6kzEwDV7R6TQWLx7NhjNyv5jf5MFTDrVwT14I/mKiJP2AJTQ3fRPGzuqmspS/yU8Av+ru8+zQnjlHBsqkUCx4b9+CkdX3PnFXLwo1lApvTR9Xfsp9eteM3zt6XD2qQXj5TzG7L+fWw/U62wZscc1vo7sKuDFxmlMiUBFH2Y4S8ooBe1qzc5ngNjpAk3iiysGAKuclpXWSIrvHSAWGbSllymYyBPFsX4/q1Q1RgyAMO7tsdPogTkkEJncOvr0tHmiBnqoppw/Cp7WKPjRI0180EKPUiv2gBcGiAnLuhdtcatnw76RFqMdUvnHnPO+oyKlusYfy07MPUtF3cKQrRYCCkNyYcvkOSkEOqG2T4uqbhQdZ9s+3TTAuWrbzRW6KBC8oSultdJnIKoqE6VUXB3xSwJu+joXmXSUwWPAY+TGPLxnM+BOulSpYbupyIiJuAlqORoenqMSW9enKUBJVLIgOZwbCMh2rDHSaFT6qxX6kbd5HQVxNVrHeF7D/a5D/4J/9NtJ40t7lN5hz80iXchDOIt2RzKcpgbzUNdZe1oV+j3Vn5INUcSkUQY8upVvy/DP+G87Ni0pc+VGabCOjhBiAlSHZiaEN6TF8mNrYLxpalzoHpUlO32EufTk2R30zHnnaKtU+Dl2I+ECJgXk8fZLP9U9F/p30qYen2HEwp/o2uyYlUpo/iEdIoF9NfZeqdyTgF1VPeHRgMpDt9cm++buzjx8hVSJZ5sz/+s87NNJqeqA+F6iOl2WOLpUXJZBp99TiRzK/P5arZaiOHLLq8X0v/4WJ7zBSzgxtBHpN4JdhJcN3kjF0L6tAvdRh00jwkPaVqlg3RgKeoT/P+7pOjif62cHqBL/JhLbUiLO0bfeYDjgK+M3dhBoZl4Vf8yxJBnGKA6w5oEE8vsR9shjbKiyJsKq8xg/uKKRPg2wXJ35qyfj/NkIL3OfpZzauXH7L7HWEwkeTJF3JXD48yNOLPYz4/GPXvbsPNSapqcwKGCVzHvYZnZ5KHPPFb5aMCrSyRuZUf/Fbkn+e0NA/ooYxc8ouyOKVCTla5dQWsiP1XbbvahTIkSva9Wju3kVppgInI9U+/zdObodNacY06fiC5zjFapCx6e4oNOXvs9OsIrIAmIWa5/0UL2V/4K8MgFPeQq1d6oQ64bp3Mpb++uXDaP3BlSU24ya7C+zgrUlbjeD4QqjcpZbnEQgl++69C1MRayad+EbQbYjvORgmMRtnmOQpK9xQo9KTBdeiPpHpB5F1YJECIoiT7ayIms9WlwMs2BpVaAMCl5SdSp8JBr2wBRd20AsW9h3/wV/WUcazF6kOF8Jm3bUFrgCgw1GB55adkT7g0kz/sYqmG3TG0yO6HmI07k9jXFUeIdN61Ah4bbP188Qm4Pd0+hQAzDPdrOVeKH3tBSN/PkxUG4JzS5dpHQ5qXgNo58ufG1J6rkmloQj1Lqcn/LTJOIJoKZmYpmoSD/s6oW5qbimhhfOl6Ws3T+PGyu/+GP0520+msreJRYcwc6Zvj/x2G4lJfiQAaYtileE/JIO8fs9iuw/LLjan17GUqMV0XQx+qI6nyK8Lkg3XkBFr7YqT880/agpKrC5sndmJvFWTq+FXS8AMHtayVyk0El7w2XNq3B9WFUaGGCl/WlX8evHgkmjq7wZVuWYp3xduXN5XHPB1Wk5DgRF5pYc01eFxrTQC/J0gJa0FEnH5Ny2WpB1xnZS0aoepALb9yzkfSHKcdNBeW5chWTwsQcKPzrIA0MWnj/oDW9qLKdGFNBGAu1Fq1QMsjMI9eV2IwBfOmkFDy4y6B/PP53aYml1Se0TrmQUqOsRlBhE8ezv2GxQdgIbOgUSWi2WgIQ64YdQJNCo2mbWkblXYfcZ7Tmyy9DUkzl9MEG/DJApZPiGR0r6AVRpWIAj/HAz4VT1aYIzD0FtDpOMrlyn7O/vmgerZDymGz7wj7/hrticf6Gf8xq+3y021qBODl4t4tZD0VJBrbx1OFqRINrb3AFH7qxpaZDYJCeGciQm+La5nGHriLfImiLIfbsN80MvrAvpbXIQ3Nj5nqwF6P4M059Uj57XadvUfNzd8XYSVPPqqnufaw6qHNuDM5ZEMl/qb4Nc6Q3D0j5C/1w9RmTzcfk/uoujRpi6+urtMfLORq2USPog4uQyOtxRHukKYoQPczoeiewCMoAIXaVyVmk4l7BTi0m1aI+hvlXoJJU04HGIXww8y7W/Jeojw1mHEJ3uDLC7pBl4Oj7/2FFfN0Oo4cxrA9b2bykFVx0tIM7HBPQGhn+ScGePNfqve337L7SsY8Uzl4mr39y+05yaG4Ljeok7bOHPoP9I+YGFhhrAHHifFpq4HK49puHG5Ep2f72tJNQHkOpP+0t2R3B8bJzx/M5zZyh1rXL74aKTD64wK+TfeD5kLQ1HFdZz9blh7883oHH3JSSu1TmrDYp9ll9YiW34Bn8g34r/KPm8OooUKAl4rpDyUVo6Hkf27pEBy+cKn50eSEwnYZ11T8TI3Eomcqrenm9OXkkMH0QRH1Ld/XynO7fBsZQ+qi6eBY+b/2yruzHo7zmd6zFuDiJlwa/qqKEdRnzMHHCqf8ott7its531TcTZxD7VVIB5PxMWyUiZhD30rG6tBwmOtDNYnd/DRMaeHYM55QPV+tsY/niDvHX8Z4ip+kJVK2LXB4n68RnInSv2wB3pSdfddUXmYkPAMjs0ZsGREjUOQ01xqr3DXGWQ6iPiIuNtYo8l9plqJRc2EFtY9EUCFR7ZjDgrPr9wHEB1h4xhwlx8aVdvu92Al1ps/AnmSrBVLSMdr8/KIQh/pPIFscnoeoK+dTj+bzt7D1gYC78yobJQSqeS5uAzLn03I8Rsh1MnSYbqwL9v1BRWuRoZ6dFXnakZ5T7qOB6gTMU7E29X9c3pebPgM2+YqnyCOBjf0re/8WCD9Ek1PUCJe8bdMdH1OXKTJwm6wXydeilvK80J/BEY+2orqKhbnKOmsLEpjL4xeD2Fa66QBCkv0BrC3Fem9egIwHwcC/wkjLO43r8jR/SSwx+Es18qoytybShCf1e3J3wnt9CucrlLnoNkA22VHHTkXdbctlb0Ro3UaAbUs3aKXjBi9o8DcrVQZ1w4dpeD7rBbFspC41AExgHEW1gViLV+0rc85vrq3lyZ5oi1+jEsoY5SCMj5a/ETTwfJy6mDhtZs1QidkxPofjAfGTfGgU3OFsgLJ5G3KPT3SzhqdhwbOwr+Qy77Fj9v0mr9y9lpgbKxQOuxiJ0LNCzBx4L1TCmpRp/IHS4PeA1H8KeKcBwlC+UIjN5Nl3OPJ+1EOiLokDe1MciJpswwjOYhb2asMiXB+gzbdXRWWDSaaVMJ+Krc0t4DlU4kSCC21OjWvgTaTWOy+FZEmBNGfFMJs6cRgA8rNwF5W+4izF96/oWGdf5659adPnMU3Vkx6fbrqLJOHTGzXv3iD82Eb5cA/zpTEx6EQ0genmpOqzsgQgYG9+JDwvLEvNlVNAO3E2DpKRg/fZDngOETJaAKV/XCzLpZnig5N1VvBPNMWGqGRhS5r03mF4qYfpOsLhx+3LaV1fOC67wy+N7dgi0B+F641jjnU3hn2+B4PBzSTu+xeA8Qy3JPRxSNXJtmalh9guBhURgYjGDUtqb6VnzEC7nOI1QtZtput5aJC7oeUoqMM5h6D01Base/lO1riJFMcu/0Iek0jFwXx2HPsGBYaJWv0SAsadZIbFW4sKg0RAX5AOMlmq7Ct8IXYOanzm+79dZbaNVSOkchOkYZ9LwVtzIOHz5rFKrqh5ilCphibS0kA3+mZfWEsmtRfWcQUxrLS6znNXQvk93R3ST+bl55jzzLRwag3St0v8llwo90Bxpp0TmYCEFWFuZVtf+nCPSDtl9zklRPP8pViAMMIVQfWamLX5jzrOaGc9qVqB7uglKUjdt7lNAXNVgimahiRLcbvte8Cc51A2+1Cb5cnlpq9r+UJcYTYvytj/rwyz44LoKKgYJv8iZjtKuQAHdmF2YXNkNlYX2etMMaumKVqli0dlZj2kVqFs7FVfJbu213+3OV4++7vlHdDtQoCyJLaDYJeHdJOp6u1+VrfYAM7l36S0kjbq70+FuaJeOOdw5sqlyB6aIJ63NyNtTqheYviRe3A/deGQWlopTcmpCcSVbVdk4r0kIvzzX/kk7pYt8ZJ3i2KR6CEp4hzOfXylJHfywHB5f5dnaXohpxswqLYabUMHZfuVvhGCAojLtbJTYfAlvvrlfs/7WmmVNuVv/so20DZ/wcNEDNfBd89hTSXrM4ivBohST8lvfnF6jF+z1Sl5npnCP7gFho/bI5kKrD18m4X42zUKCaGV/ml1ngszmU+UnPHEwbiANLuDUfmIZni0rtsbNK9DmrpQHbVRW4UtpflINF/Iw/eJG/t/b6CFNejtR+rLtJVgEBWquVlms0GYyT9l7QGN3ED3A6RhLMGRfR/nXcehmtuBOO5PLZiNnuUG4hoDDxjZroH3wl5ofMEMOqmft0Fk4TcQyBs9VqXWTr4s7E62HCRp/hbiiG5U+aQ7Xuat3W/3AfeVEZUz0VoArCiW+mbpApzuZ82w9Q/3tgT4/CDqRk/m3DtDRY050FMpUNrrCmIJqcyMQ6cyUrftPB+K0u8SRJG5S8HNR4LhrCp48uSE1K4BDMIGZbLN+wPjz2lehct3K595GuS4RFalIp9IAkLcZbRfQ1cmMkfXOuzimHjWwcLXvgw45SvCjqjopdSKpaf25X8aElIfyXDxD0SPuOB/SZkIfBBDgN5BcpaIw+fGU4P2E/A1wf3BxoGkhi0FtUvqgK19ltDHA89EtyX9fmKLvrIcxrwk2BVlcTOmEyXyKxCu8NaobEMKCjMQNAme1oDImBLvwTrWeSkoLC3oOOIE1IjrUkWONqpBabXC3pF3AxZ86w0oIDdnn1J7/G+rmN4nvK023S3Zz6G7cG2bFQxPByDAgC9749HwcqwgjCSkcJdcrymToiYgQBHVZdH+2C1RFUV4jI4nEGatj0RGzIWvTSVNMfLqCwLY5GvYPm1W0zMv4zxKlW5OhAoSy2/uoQQXLLOyT7xTIKC6VkeK34cGOtjxB8SFHhQp/lrr78iksetiSVl1nA7CKWbuwWjYxtPoLXCQbNMzJ4Vu/vgWY7OW0VyTL7po8YaAA1VA1hti+3A5NDOC4rMDRGnBKqAvRjvMSGBq+o1MkndunXP7+MWogGL4QwG+EkGGrlPoIOmOgrwXSyYe8JULyJLaHNGKaRC7iTO1XryiGIOI6pr9YJuazpoi2coOwqipaOkw+x3G9k99fVJH0fMBv8Dnd8MrU7b3YE5gppel1/KVwQycl2317n8LXPadKKe4jqD1KHp2htG0FA82kesboKiWnJghn3V5BdVSws066k/NjmdLCoVRg0dll9J2cTrooB4uLotwm+REBr2ua41JBinHJ4UeICijvGCygxL4oTBYLjWsWQ6JHSCsOjxsyUotOJ2l0rspqk7IA9TOIJf6HqJaYsA9RW0QgyHLr0+ZdGzzt1ofW3ILaDt5DKW0CGor/Y3hiwbajE6V5dUQHl+zSL5CF5ThsKx6iD2VlP7UWE1EhlEurCj1QCUvlppPYSJsCieVNohSCeI5wcu1RW1dhDBFZcI6pxnk0OiO68HGC+8pBsMO4Azr850LFuDW3O8bac9C8kKnttQ27mvMQ4U8oiGOkMIy7D/YvMn4G6PIDY2qCf/d4unJ5lJizYqkN5X1N69juhUjwLHdA5BBumhK9TfFW3jBoCXKa0t3jCgwWUJ5SoGyDTVjgXzzSETpyaigdaMIrxu6Z+GU4jrLAOqgD4MOrb0AdeF1NOAzV/P4qKTHl7CT/UvwhjCT0XEwYp8Vulx3B+1Wk1XgB7raY0M2XpKZ6+PB9qUmMPhpCMVKNeB3IQXb5ogbb8E7R0ZFnSHICyTH8+S0jaqF1cwe4q3kBFrmk20I07J/grpYthWXQSWB/Vsh6BGOTTTfeDnFBuE+Zd4NcH8z3+RpeK5rN9FY0Pe+2TC0zJQp5SqHVX6htZXolMdZVuEPmR3EvK1DBXjenm5iMtkgbJ64ARTMKHHZkiIiswqq0lFO2JV5xvMdFkUh7S08n27y6qdKmJoj0dgLYJ7g5a/m6egd3Krbn402ENZDzF5gBgNGWlXJhdc8Cf69wYHV1gbpeKjf3SdA/QnQJOqvt00aNs3muzwlUXavx0oTWx2AWeAWSJJ3S6iCRbntZU2kBGPxj8yugxdH3i5WxFsoIkvOvWgJFcxdbaZbR0qniUszohjeED2yDU4FlFCWJNYoaQQQKgk8AmPXj8SL1cuC5LNbmwqBc/zKHwEqLh9t8BMrsvAtnAGMx/UnfxP6vWenO+P6D+dHr/fZX3YB+u4SPnDxQa3d+EdbOoZrd4cUbZ0+glPkVl/uefOFCDOXWkY6ICq+oyr24/F4A1gq5eOtKB8p+Jxoc7IO3u2RjFD5kNqbG1OHyR12HzowDuVagruf91DTKuKt6k7e3NVSqXbosUe0xYj/VIDfPCq0Jjw8clDRxKy8GDTZaQgFnAVZQhkXCzyvxKqfpczdhuyprsh8RAnz1kJ6vE31mfafKohE8kXssJwOhJwFdXRyp0w5J81HbF05wVIafGy0Oui0KozG4/PIIaxVMHvOV+1Aoy/W3torJZ7iJWm/GCYvnktHsOKW+nVM/kRSp4vxc+hujjmVdLEPTi2Xj4p+X48N0WQuxA7YS4IMWSao0lHYhT/yTP3dPh7WgLJxqilSBVk6UFILNFqF7s8DS5dPdL+pl2H3Grv7A9vCLBW7RMdOkgflItoBqeJbVIliFhlJaq8tje3ogKAyCC6VnOZie6xn0FTM9rMju799P3Udxw4m4VAUnPOuYznhRkl7/FtO5P/pLvZrb1PypvR4W2k+QVwQSvn/fR3uIFWgrPVPDyYQeVhhpBiPVmAoocbS6yU7mduUxHIC1kO6OAroemnvKmUlCkS+98gcvMu1X3s1a3HIINkHNzVynUP57v54V/A5xIxyHiiNdFUP2Z7sJ/KAYg2Cm91B607qFakQx8+A+rg8KjdOD9pK9gAPaN/31Qpt0PetG+uji/LEZ7ynsiLVu2C52lfraoHmJ/IuyZv99YEDie0Pl9yurlrw+2TXqJ36JXBFiybEMOhLe0WWZWT0pW/tOM3moHWT8ytS4XcwbAIqBoGslIH+wwKNbgje/UKYvBZ3oelk1VlbfQmK3uNH74Gj7jd8u46uGtMBxeBnHbrdf2PGOIjn9copSBqtA9pimvBn/L/tGqQ0WbcvyCHv2RfqgL2RHxp6UV5RjGS1fRb9AEm1kbFr3cqe3Pfu7FZ2u9NEzhEiLXqGzfHtz4rl1eoQoPYNEK+z7D8W97a2ZPMW4ccfrnC9hz9gMMTfazZgqqlU6vr6ED7LaaOyObsoNfVh/zj0jS0csjiQRqDG9JXvNs/SqNXjn0kUE8XDmdxpbPT8a7XM/5297tAinr5sj0ofQXnt8WY5tg/+1gp+UaTKFTBjSq7ALk+MXvzS8In9n8sBawYVfKm+q4KoqKyDgDmMUdh5rjEYwFOqfO/cNo+bAITikSheDDmW8t2TAqkPidUwNo2z2qL3adZWsa6A9kz+I+hh7ojV+TN+5KvQMF1SMQFckHN1A6r40SihH5NpZwxkidPWGbkgFTT6AyF04mV+psq4mRs/vjzh1ZSlIA/saokbNUEicctSffZlfOrK36X/qdz+xO01eZNkUOfC8TloXk0uipRNLlbh7fbdVYI/0NPsDgYSWHvV7Rnl6EvUTGHZUHrYMYtrKIi8KEfT15mLnyvzxPIcuKJCan5wsFTs+zscK12Xq6D61CIiTmYHl8vUykp7haXVvAIVU/EqmzgJytrcANC3Olau2BN1lrlG57yNB7mVi0HPp+nc+kqVSSlJcRbCYI7y9ZdfYSkZTyMasNCppNHAdq4BUqpaa20jC4y+Hpru66DuusQfNInpUWCZoPmJ76knHvGwi+kob0vy5KDioweC+3FygAXGPc9xZLI3nX7pHfmqEiAU6RwTSAEMS5kr5uMzrWtbMSe3grCwjRqjX1M2gF0wzkqUeAggQM6UkZsUnI9tDw77ufxGMXMc2H9zaU1pqeWAVwyMwHwudzcfa4n5uTU93SG+uDP+IhrcbQpTMUxpIAmJBApCVY+0MlxFklI3+PSWWHUdqbGj+SKwSBOv99ILEZuFQqTPmMm7UcazmLjrpdlBh/22NtHe59WhCoBZn4pB1+/MgqLJ0Pgx0fBj/EZLipjjzzJbTDfNAM7FY4+wWZJgc4av0uCsvdyydHJ67JdrWFKF2KxhujxFaNCsvs0kHBRI6EgN1WhAvWzqr0PyTgMnyw3xZt+fab3T9755m/eboFN2o1tK2Wa1zHsaZqQtpXN8ySA2io1mjDPYiJZjmM/TnNqrPfuqkGFQhqVE0vW6TErOjhZD2SP8GRHXkPZNYyYC5mJvg90DKS2OwYas8nFcx6cB2SxT1KJCDsdsJV64CGp1eFh+3yQ9IrSFPglYYzib3lixhTGpXTiv2oS6IekZMZGkeU2cJfB1gdjhYHho+mwtSrFoI2rjVlwnBBnW2rGcUH+NNNSAlzpR43qOKXOAdfQpcbaZQNaF1/mfUslU2+U/ADDCoYnWek9Bcvip5RYBeAdy2ME5YJmIU3ixMClVOKRmrlVj8BWpC/wWTMHLo/Tdykp8239G4BpJwImIiSSFpM/67aF9uQHkA8JFrpNeKUO1hyCgraBSWiyWejLqM9Eff5FlZequ7wYHa62T59FJQ9Q4biayho6lOJ8k6LJ66sREsijPSCmNF7on1QTJ873eQRhVQZIGYOsCRBAoinIDxrLI5XVo9F773INzqNm14/Qc0LZF6eE8HYrpvgKqQJVt6xgiGzfcX2fNio6wuGw3V1gwZu3MLBzgmP4X8ws57xPL02kjpZIqqKRngnhbvxv0H2qFBuFhE4KmXoSTFwjciLngQHck35e2DXhkl+Og+UnRW1NtHXLI/UrccU3IOcDKsl//C20xuRxNCUzX0J8h179KAnJKVMcRPvrtZlBhoq++6bDePvVIoaIfsQKAtO1bYgBubUN7mjd31XF+XGWgG9iwvWcvGH25OoPYTlUJZ3gi5ZmP9j/DuPZccuAXDf04oZsCsM3sWmrKqA6z9P1Npmnexxp3RGqPimwOdmTmd19IHKNlnti0Xzm+vbRDpUzupiFwvfHIb3xAXvqipcAP9L84pdtykqvY3x2Gu6QGykfqgxpoUKuwZRVwqow5xJI5VCHqAJZieZerPUtcfJd/vRmgaSaanCYgtGpNR03BH1fJEjaQ8rMnLHjGBhRdOnXrdN1cZtdnOF5zes9zI2y3wUywTsTN1Lka6O9ynOKeq8GRz5BDdlyksVOPGfgwuSWKJ0L2BJ8PuE9urskmjXSsm9B4+PwrhdpcuV/ak/7PtqHF1HBDs8UAvyJuPBIYfN1mkWkbzB3qLefh81Cp9A7YUGao54Rez6Z0vDCdaARLf3j4ysO8A24jjpsFaP6Z32AjLdujeWaGwKKZyFaIZgB6thVhCQ/sjo6u+PzhkiRmcWoUhq7xERbFS3vcbFhuNo1Zrl5W4MFVJ6gCIWB5PE4dR5Exy+JvbYvJaXnSDXpqO0/umKyLTzLWGStMuYEspoeVi9Sk/xb9ZVOv8CVrpZpQrYlHYFFX39gVZAnpy9U0MgmzjTk6uWNTR4lJh7I/W8M8X7oZlQDa7NBh0Z8xEQIbZcIjTrFIalZqZf4/luj0RAgcQ6QeHyjcfT2Fy/rDKY2OufAOKZ6cn3NQek2JYB2Mlv5Avx/Tte6xZONSmAZHTCC1UQBuRcm1iQ9sjKDmLMxL7aaOwgBYYqOCHcB+xDFZT8eslzSNGEwO9dPivITT7p1P01HupOE39M8ibqg+tGusJUBFMlKKj1xrBznnJJpZEpjzriBvfsplZLy3niEF4mKd5cBdgi9ZCSl9tRWsy/ECdKw/762IBhS47n2NrQCRchRFSW9po/jxfTv1oFNDeFHnUEkZBROtUH1tdQrSzMyfkEt5WIONX4ihwnyBtggLrsXHXriICmrCLG1CJ/SHiiEwLDnsuSARycUA//ZsuB5ApzLfwIcY1JhE05QfkzJmrCYOY0tC6muIR2haOndZ5lUAX7fgILOPqIZvWFQ+pbnrQJKSDcC31XWS15FXIgCUk1yJyGV3bzCtZs0PI0H+rOYZfxolcj1q+l13otp3Rt0gAe1GaP/qVYrT8xO4FhJPwnJriiEVq1L8uJ8hWNenKz19zedRORLJzsex7CUNLJqDUyDS2ayqQj3NAuLwZg387pp1fPSCGwEAJFeUBiol4UCDLQkDAfJp1cUhuhYim684j+bWy9b2RxzonGQEMRY9tQj7Klg90UcBS4bcMRM0VexITY+v8R46SQdXxckDbdBJBNfMMG38077nMxGv3WU9KoZiNOaUHvgFGvkBUhn4OHz55x9jMgxVCbSwivzO2dzIH9pXpIJkaVzYEszn8a/SzEt4+a+T66VYIdNrodwk1i5bNPQ8rry6atYxtfafCVfBRXpYm7aKfPbJV86IcDD6+3A+bDuFBwWgEgFN3pMv7D9ShxdhuHaN8PzjgLEBT16u+rqO0xt01ANaRNOPZv4kHa6AjPat5c5XPcuGI5rra+wyMEVyCcnE00BACMn5aOZqjcQu61cNU+qL09UHLRAwNTrxi0uLxCuc+53o9HAACd164X1BuCPlku4H2vuFn5Ryiw5zyxWgw1qWNe+PPPJhU6Gt3GQWa5ESzPf95VT7YicRo0ZBp4cpzr9/qhr5mjpt2SpDiwFpqnZ25UyLdPhHwu9nwwEYRYMvN7KA5GZdFzOzffVRNZM3p9onJ6KHPArVKDAIwF4II4ezcqcfez+jzaB1DATddecmSF+O8lG/uQsFjakZcsIepqCZuTNmFW2pNBDletNF7RrOIDN8Kh1b6IB+O5m50hbtuVpDZZ7oUfmET3VRejlNx48uJMptqt30PcX1Qa4JMS7B3NVQeezwm2LnVWrjGzcLFhtGzj9g0/uNBXbSklGHFP6viL2ps3M6OBP8j7S+liPz3lTAHvUsy1Ni9OWuRSuZ+f1QineMx1z2B4xpNYkq73jrKQIkIDOL+Ll05gTmdEicAjI2zlW2crC1S8Xplev2+HjEcHeiDXktYAEAqIW9wK1PnFN4/JLhCrcsWbpTbOUXOJQCBlgiKm4qOdxUPUhKh9WC6ve/ualW95TkS1A4yWjYX1MuIUPHcqXViZLgcZnoa9p2dQvR1P2LgvAI3V5VRKtyybqmRVRKuLUdUYdB2YglmHeJfF7Zo42JEcAWu22CCkMFws7sZz8d3f7dkJb2XZp+kzNHGEnjn/tto1RkB3691uccd0lnWlEgjKygAbkF/VkkIuudcLpBqy7WRdQK5lnjOHQj9uNnZExOUYuZ2JosSqIrDLmdIpSCM1Jhm1ZeDb7/G32X5aLQJyW+7VMzEmgfE3Yh59xZPG352j17kDgFbwnbtMUiv8+LK+FKD11r0+qyuBrVrBDE/jYRM/sRUOnX2rKv3JGl+pcOSQsC56KxGcW2kkgnep27UPa4GNxOSjGy4mdyoUknbvGwgyUzD9bWp1hhVnr3CJGhqeBYDpKvlSbLDTeATb7orDRyNORUnGwMx5vtltWfp5Z6wMqA8SZ5whhUIVYKnurh3igjLr9BuVnDZzlE779Z4wkjD+z82c6Vi8hXLDu4aZ9kyEYN1nHIYS9opE/1f79EeOisbFH2XonVVyDaGlboBC1EGKjr5m7iOBbljPNoRI+Ryl26C7UwZDCt2BpCHC+XPcIHA9bjtwD6BiVOIv4kh47ld3N6U4aQeUi2owGRwnMcg7rZPCyrHsWI6vfMnu8BqDmvJ6hosiB90IRU9xEiXC+NpXr1hIuM7lVN8Zk3o5/Ey6K8qf2YzVJfOhhspKXgN2gUEGNX+h5wdEMjJ/dNKKajKHPCKnXFLpTCTb0w9whpkyjHAlhnJIiQUwHnmzCNqOzKb+Xgx+4epzQFuiZ3SXmi/pndZV5SRkrNPx1fyR9pVcIYJ4FUndnFKSvPA8vTcwO2Upv5s44vfw6Szjm7JM/B3hTsKr+l0pOtJ6fBvLXAzllhPWqZvP1+tyKkovYdspv5C4vxi6Gf3MHWvZ5tFAlGBYbx47xtKfzgOTmQB6YUGltXwHCJLg3peXIu0I9AVepIRc82Ja7m4d2BS19+80N0en0z8LWardr9TP9jxTNEYzXDdrJmV+MnwLMyUmelngiIPOgtsHMiBFuRAMDlsrYfJIOQf4gx6Gi0Jvx7VBGiUou64u5Ed5rAdUE7x/5UUTJJnqueHsTwmWBnfv+J6q6MuZL0pEej3zU+KIBFcRs9WfKXAPYYuY+6RZmRbG+Rn0+IPCBDpfe8GsUgBkP7RZaWGhqT6OXxe56/znLWlqh24PPDSvv/F53Te/adrU4sr880TTG4pYcNLcpF4a2XIyl33ljGSrjDimBzzhRkHPTDGrcDSjuKzP+RnMxdM1CzMjZzHl1gQZlvkuqk4hIOe7Cg2whjemRHYJPfhh83yHvhEFVrcOMdqcym/LhyjqTubE5ok+FM9qxMnrNFVZxckIXnoFkxYsbsShjERINJ6a8TeQ5ew4pxCpKsmsDuETWlGRJ4Kpeott6VF8+HKFESEnOARwOq0w2h7gIwhvlLDsSHPzjfYqXDjH47IjPv90EUJB6vu0DNMNxQHJSUgDrJZ/lSOsFOpJOxazIBAyQjt8U0WwG1fREoAebIfjyeAil3i3O3TGLCIOUcRzge+w98Pgz8UWAGIOLSNwyd51ApxvG+p6bwuHkIXntcNMDz7ljFOx1Lt7g7O825tif6C9DzU0C6hvP57H/JjvGl1esT8jS1GMamv+f7kE/XEcGX9cL2EymKsAT0YC5MjAz5amYOZEtoyfz5kqhMpn5eTqwprxCxkhUDT818Hx388hAxTiSUlK2UjVbucng0XrW6nM/ZrXosPhTgnORvegUcnHRE/2nkIy9wzUhHSqdqGSvYAjBPv1lHELezuz1GYlge2TXCxYos3/2FYoz1kkYP7lLp65R/n4/JK0zB8f2VyK3lInp2azne2TT+et1BVWnVpqGPfXwrlfa9O81K1yUlLYv/hat59DFAmSikslXikFAHf4Tz6wiTPl62G/Fx20lrkCUXDKo78jmU45e/Y2wS37z8XytI6vGrjhOOVYOsq6P/PVoR0bR40kmeFYeTC5Pna17KggekTZYy1Lrbi97q0as/L2NMJE2y4hlSPXherOwf14XE3obyz/7gkq90P2k9IWmpvgGZqqJvjuKO68twmkugVSlhw/Ep+X+BGp4luXkrjR/qSbeaPh73twAP7KNM9GfLSTIewllnZd4Q2VafDTTujXDqKD+ynBR6uFPZuEixlYxtyPsZkVyxV6hENnGd37hfxcw7XKsUEpZi5sv4PbecprOcdhDj3jq3wddRDVpH4nNB3S8o0kYaN2+F4aO4mewFjkA6sykU9e3feSlOWsRqNeggX71cPHSt90VcsA5sIgQbKtv+qD+mN14jqOKXjPzFc1eYzjaY1Wi8I14r2vzrb8hFHgvD2rAxJ+7VLAueNn4UmnVBiprQjrn5PzhdfdpS8vOwUV9PKL7ZgUt3bjyfWRQIjlHT9bFL+KO+2tksKwI1MkHMcE7Wm2stBHgn/3VArmTopjfh4PbhtS/crWjSmy4KdkAqsYnbOuacj24ZDFHwlfvOrz9kjUbF3GMGK7rt/Akp/MI4H7u1lDnMRNvvXotGMxbc9Z9upBgPvuu7guiLnGl1PK42Ul3ONY9mSWuPdp1cgNq8vKYaWeQGBeM+njuD2IV05wPVJeYnHTeybh9p5OzE7Tsyap3uYNj7XZ2+dtHvxsPB54/FVkhNz4o857oYDnkw+uupyYwIZrvLvGe58DtLvxFYKVx1l9wVQw3y7RQhs9EbDyk1Yj4Tr2dcmQAYs25psjocue1liGgjMgp66zB9DL2H1q9pLMYFK5rotKLML0a1Y8lchHnXr2i6LMmtqZcRCBLZukw4wuae9PG6MFH+QbcuCTJshmuM5TJTmBovqPzC+P1VryqCMmbYjiIDTNaiIlRL+MxOZUmfY+7RQi4enS9UhUBqjW1n84wN6DfrKD9JuHc3JbfMRXf7IxO4iKN0XVMtgAyQfQ19fmsr4Rus2HL9Gh4i2ElIMy04Acg0/G/RG+WP5BgBHUR/Vd8uLFNc4ceC4VjEsvXrWiCkV181xuCV79T91ssIZ6XDqccl20i85tDu+tSr6yQ1xE/r7WigerKlJycZ5txRTmzkC/ChLAgeHhKQHnG7A3vwiOh2VSJvtKXVs4ZGaTatbao6e/WuadaSrsrIu9WWfX9lAFSwHraoUtf/V0/z9IK/lfe3OVCKhfkNV1HNO1FTJTwoMUNGR1nzfxms6koOjFJTBuXSWWtP3AqVsNWlx3MBL09dV/gLdLPMhMtGCHzwBys5Xe/jbDsZ4DfgDgZbiqeUmSfDnmsW1vnq4Kwg13WeNTFfz29TARnq/ebYRjGxh5rkoQvZCfPXj9NznJTVKZa9mg4if9UhXplz7lQCcpGPzZZNnNfubhcVK47U5oQGgJmjOTe0RZcuLx4n8VLlbcbxLJQAFseXj3i9I9OAhE51oDhnOfuHgGFrdzbSUIJxx7FjmPWVirLuFt4Ry6f0aix+RO5W0WyxNrPs4V/35Do07i7R2RwyP9z6iu4226tZzvsAUfPLwWHQ5qe33F1fjHTdwL6r4BLEqoEncpoMSX3Mj2RlEpGT/BM09LlZA19H8k74LbxoT1OaIt38ggCJn9ONAY6FIJ5CA4OqxctnbHGv/NWQ8j+6+btoF1uM2Cx/LXJnGq0Cu0xpo7A4ulWWEKC5Qd9FTeW+yIt5gDInfZeXXwDAE0R0oF4PdztVY7mk4u8InPyeAJZob8fO17r8FY27x03p0NWZRuLZWcVbsQJ8fMfJvtR+lgWvPf3sDbXXpdF/KHgIMZTkL6vuxAPypiLdJFoXswOzLJlprwA4H2uv7rm/pbFAK1PstT04OipZ81MInaqkJWSmbU0xFLBo0ljOSt67cP43WYcB8AgJLruurD2Gwb53W3Sz2fLYMqUxhTP/GHKvV87qkWkIOey5BId8ny/tZUGP0DQ4gzaff9JfjaNMJkF7UTEJVfGcCTOYXbA0huRXWh8OEd5FP3+tIbacGDJIpQxMr1sAQXiFsNQywi6eHqNSgdQYTncyjuzsuOsdBf9f+onXdn8Sa9H6xaCy6OIQo8ZxBWLP+MSFJhz2Ux6TfbhieN0N13EyOmndKy/UaB/RpjQ49ji1YB7lrZ7btcWAszAIDHO+7pjTxIJT13k58NsqEV/Co5mRz43+Mj+ZbVIWVQsFW2EU7AWp7NC/7JNuwq3/rFFWKUIhC+9jZWkTFBT0xUgJCvwe9WRti6rRDL+qd3xGagDsGHfa7muIhOIioSepv2rVu1NGywEsHcbVlulqrWA/tohQCBSxUmvrKBl4LY5QIZ24umSQYM1y2nh8nyNCw/EV6dxB9Y22FM8jHtpXTWxjoeBIy/Z1wN3EbsgC2d0uC3qmXdc29o7Ks1waT6u+QcA1ejXn+XfeJ5yjP+gbKSKMXXQqU+qt3BUdi/Jla1llgQjbbzwT/rruk130FUu0ajIwZJwOHAn4VWAb80tX1b1fFGhrH8oFagsieklU4kfb+Jh8bGTSl6ave7z4O9C03TcqI2PfU28RKKyOaD3tML+3kjpGrcZWUdDOVSRNTn6Ou1wDcZScpJjaFnBjtSQx5VpuZU7zddSjDSkSLQwAU3PRAitEuwpdXsrKjSbpKXek4/upq0Q25ORRWIxGF1doO04tG7suQitjAiG/QkFbliAyvHACYxCG6S0yGxL6MqfL9QkmlZyJybh/DyLXZrWcN98V18LWz2kS3yJGl6qhtaugT+sewTVdQ0SVTZsQPrUuW3MISOIpWrmH6pgAzotXzk6ty8ibJ3UHjUednXtqVF8h7pJiF5/5G2cd5kUkHRnFT/aEyODtdq5g/DjxbbfZ95QNzkjuWWlUDqQu7Jud/eDsJopWb+fBkXYrWG+LrH0TcpEtRuqMH2UYAteoeWVF6YkcZ8NvcN7muINCRjlG+Lp1LVuIMhEHO0GXnaXrqsI55rIR0D+9fBvZ5ZZBikOcRReWs9AKr+SRrhdnj8JmmoFZmN76ZvREzPRRXm3ToD3yBdqn2rm5W7nQzwHJTdz7hxQcCddJiX3q/+bkJqXdFDxET/FEAzP0g0xZsAxMpnbBkfPdyCKyXkl8axcf9Vu9zIZH7iTUZBDF3FAkKOkz853i1KxskMa5vfiIy5FlgjIaujqKwMilveHxGBucJ9xyb26/kPbftPzStfTsyn9yD+B0FoB4eNK6Fu8Y+8p43tthKBFS8ouoiMrsfjsdYFwoo8uM1bOsDgXhfIjci0rqR7IOIwRg41L+8YqkAEgZvZps+vC80Z7ejhCXqwq9GAdwmErLNRaP7BXzS3chP8Txo+/wQmOmoZUyqAmCYA64abMBorhM/AnOtLjKU6yV0eNv++wbSgGgiyTgctI6oB2ff7fRhxJ3xALus38OgifylziXrC1oveVfCf1fPwZe7ELaWEmEGSZHyQ1lWIQjbfUtYjuN+JfiHv+0z+7YCvMbtjaX2ki96oov+LLHk/bQYEVl1JokxGSMy0XERwiBt8od5pfnFxl2d9LL6c3/1BXqaChF7BRAFWcU96jICITTp0LoansWac20Re0zHtFgxeWLl9ky8E16QVYqeHFxbV/FXdvmIM0X2FEQhgrEbj0RyLiuKByzFniY2RgvPmSksEWq7N9vJzAKfRhknC+vqZGOeWbJm+o1jV7/8jHI2jKh4L09pB9Vkwf1s92DiwnmnhXZON+cshKFDRU4ajyCH3/8tLJkrNIJeYatGuv9i0hY78bfgeNxIhUgRmMluefWLU/Ef7XKPp5Q+p6ariGg9xB568uT9bJpkh7Fb0t+MEsQ7VI81a0gU08Yx2ngbkH/whT5Wb0FBE5C1G4eaWVvLn224phaWwYkOLT2QE6EIEnCHL/y3myrtBNeUMxkGnmygMZykIqY319rlqx3bHCfKArMuo/uqOxUfXmLqrNS+rvPq7tkTtxj5ZgeEWEm+55Ru25r8nmkJ6kMVM+RrDD2MwUHuxZVQhz93FkTmPcjE4UnfO/v/wvRqEacQKRHavSL5rRMKtgK+wmccE7qvHh2iNQUkauKJVl/tSEU0ExFaGXUEE4kj5gnMC4/5ZP661HnH4Ga0MTvRirdB8GxaW5yBCyCLrMqco9UrZPsv7cruoQDEBHM/hrgpXtCgbUBXcIxN4jYA7008MPQY8cix83HUpYqRq6PmoIDE3vo2vOU8jjiE9uB1ynrwVdhJv3ZmrzAwQ7F7mCLpcbTcOUuLpwkYHUGXa+PTHFAZr/6SlfcsESRqS6hTWOK8gj0o5dxYVOcX6NyzhrUR+2+Nv/pEVGwiZ9aWn6QMiReRuYNGnPigm1lzqk7gZ5SmAKd3NN6y0E6epC9EK7CJZlMmk+Ni17TXGF9iH05Gq1yji6RZQLgW0rxJY3LmCQPoCkesNwoCwebN+c4wfBc8IBDHEQAT2vDQVLXoKFhLeFHUnjc7HVUU/p9HV5thWHdRdU1IhT3ehzM8ES78dgmJM19fwrz3IEL9QJSvWY7p/qjGmsBZLni+egFZ5dUeaMkuZpkcMXPXmvJOxgLngttV6OUwd75Bf24+lzudZAkym5CKHIkTkIM59L66ezi00jWrcJcoftfjnQRVbkn6wzK0Y4RQD8zG4IOkWYY+F2uYAANg65vTzPITnwWCmZ4Et7shp0crum2vz9lq/45U8GFoCTQQG2NP/WH2Vg41jAG6rVcqJdGu6/Ce0qGuNU14mWyJUu460+Ttd9LYNuiJ9ryIf1kr1qjwX9BruCcFLxQ0XdNtEPVIOIqALKCZyC4jrtGGpdFhrAI+dxb1dePYWOPWgYCA2JpAA5Ijv2kaj+B3/MEpPWe9zkIv7kTy4RHORCnkghzkQOv5DuM0FZkTz1e5mDPeZd2eECrkphPPWaNw6ci9vU9iEWEY+Nuj19/cNqZWapc07J0O2Eo2t0tUm9U9mSsqk1ILxRAXoXflmsjg67116jKUuF9+8F4g5fhop+fk66fvhilVfqNV9swSICwiVMV5U2zfDdyPlwa1JS3Mp26fd0A2u4KNiP43/nE/zCUfifJpOnY6iL4xnjf9OkRritafkVO2rUQke9+Ov0R+5IBPx+3oUP/NgMkx8eKY1CUKeOLIbinny+jNyaQo1KHv/ydwVXWsvIzE+waSoWXoyBOT/Ppwf/yOPyn292xxcdZs8VSX5icBIkm1Sct1V3pYGh0n0fMbWtCuNOIcu9fx4nYak7AAEtJDdH078YiVAgVLWaIv2wbw/XK18JHNOnDzJIsOstS0ftHKssRDpJIWbzOSg5ylszNVBDm60FbAfI61GepPbhQWc6aa/Kb5gr0VrEQrbNde1ClWqugNfgquHsNW0H7Xx0fEFVsfI7ePB9ZbHvozgGXzfOyoTj4hHySH1nShkJ6rCv57TrPo2r2B3vjCOyq83TTFLM051F7+Hiw2Vfz5g9NEccWLwFIE0x8YjO9zPNDORc81YlCmn7h9zz80mnMPBuFwO2/hOI7TFcKqWZxRpYvYZf+HARTTaqDC+gd8e+gHEG9T3kbxmh+zJZyWG7zAA8xu4tU+Mj2D4rxhv/bDWUKHsEd3Mq36ZZL83on091hxkSdkU49sojO1kX7FhACqBf1jiCVdPUecsNrHWy+bgLuw4nauq51npIfGJROhovQCWlvZW8WzVtIK3+W6aPvpzOcrSqmOzeT2sVnP1o8MNvUBSzde2cN8tqQusqUIiqiPfSInLx7td1cXbCekcEwFv+Psr1CearK11+tJIJZlCZK9029KxW13SVLkhi+roA6w3I9g53Y4NHko5xCP5GL/DwirxswAaOofP2MwOReC5fGNpJvUl1jVSaq2TJzfwVmEOw5KWCB71CQ9nqoIGQWuHMxdq79wC2AW45xb3wwApfYVNOPIzhzKuGPysgWAqWYCbuMba26bNQNwSvFHIqIDAjMoP2aCMlqfCsXqDR7ChCbYR83IiJqHn6pReDzoDdf/mQ9nsPSJYrT5APCSiOAT4fdefn1HyseVfb8XOe06cTIoa6lT0CCYJ/IQBWPRu/Re8JiDSeuk9tVf0rxfbwUh7uHZq11Vrart+2qlvCAoV82/s4FcYtApSwvgWr3eMEY9ZW+tGXd1wJ3sDv75jvSIijfc92g/8VS3azY7sI+p0LT9tj4/uUPDLrXScBi4SPCoB4/3KL8pRRk15c1cKJ7GWFzXOOipJxOcLDoZtHUix5Q0Ltu9uOJgvIFBzfnKskOklIyOFBpNc6i6xmCuMRYrVydDf07+ffGqO1c1wtOOs0NY9A4HIYI8WivWaT83ItLEJL/WuHubdZk8qVJ8feOP2XDojEjST7OzzcBG55wn6AM8Fyrcha5FgbgfDyL728gtQYkQGdHoDsebNQsbzLwlKhFuFWIJJx1E66eCNBQn8c4Su8/Fzx8GsRMa3BYKWmye+546aYP3ZE9G6axMHSlsnKRyFsBS53x1dsvn3wM2zutB2RoqMNqM9bz84A/zDv9Qn1NTsaiAmLAX8SLc/RjeY01W2EuJR99Sb145ScsbttyX+tf/M/FD6DfwNzZymYX2lz7xZ/2RRCAWJGOlLGfFQC3hmnS3eErmm65GXbKgKeMLDFHBia5gE3/55RldRG+oA4s+7weOfDLsc5K5wtOzTNF3SZS2xT/+kMkX4eYtY3ijFaBLFPj5fN5fzDjJ/+bqQP6RWsZf64QsK5Rp/G3OE8RsNbbWlTVMnlzytE/KYUgxwBZXuG7dZa/NO2aU5PX317yB4SIwHg6kQBsb4pNZaWTQKV8BqBp4zHaracEuqum8lwz5tLXJw+3w6O7xXKGcRl4uwBMxyy8qy77z8ET2hDoRy+vjZAEeGdh5W7w4yaDTGHr4K/i8BlIxXjAfPvjfAFOG+vUeSmr0vUrsy4JPoy1Vq28V25h8V5zrkFxAt8V8Ju5zodU61hSaRiWDUu2zL0CydSdt/V6vqG6F5+pWwvqJ4M7JSXyhmlA704wZK7OgML8gxGVyTbBRsGEFkEXJ0piFQorFtGDoJTRPZWWMiPGw4aYpT0m6jWZbo/0j9OXwvIdLrm6u++YdCP8hst/MVHKN/0SHfIVfOHIcwhls4ONBTypBUOx592Rv3VF26wQ5/FDJWdLgV/JyjCDRmnGQQl01+NLcOjJ9bl/8UIUBTCC/mF60bw1Wrm3dr80CB2Q9P8Yn7Tlj9jhe+io3LL4pvisFVk/4gaYY0aVPunwCItAQ7PxnfPzbkVQg9N42uIV8YlvmLzpJqNpPuh/J8Ysmf7qywH+3MXNOKoMpr7Pm/M/yu90zjfQkBZXghvujefEreIylcVsnzEpZ4swOyaN5fPiuZfeURbLzbwqmoqxdRHG0RQI5rjmo7ORm7RY3xBY4cRWV6sxcLd2Pwyob4UgbmZr5ywy1e/ledLlLD8oCcI6FKL/2oQQHYXQqYNq5m2vTU44hoo+7gkjWP0Qc1mg555QNvRIewnSDbTqQ4cOi1EGEEZpuMJCPayLaiHxoAtoxVSMcZRGRmgWFKIwBbBy/tjNGByOiFIddU5dQLJ4fGjwTAM2w6QJbpAGZsg2vvD/PJWyDO9mXAwOsQYwXccZLB27AzanbUJYUy1Xbg8ol5bh3L5laJJRYPNXdoVGHaDGmeCih+9sGTf/Un2q/8aqtWw/H/oYU49ia1BNRPbYDStjKOIsoM4N4btw2kYLvPnAJUUYXkTZ9keDDpm45tzySE2WyQEyTX2q5bfR+/tvqc1xVbrmR/0HldMa0zI8KuH24NeX6U1h3H5na2rGcuAdnz7BqxNWPEh87J+irS9rk+dHYq6aXaRpIbgbS63ptzRSDYX630ofd179v6Zk9FjsM4OHhIqFzYQhA90BL6ID4+ib/ffVF6WJa37+Koy9IXVC7YHTfI27vkWucM5CpLB6zaiN4pvOWH2Y6lpaFAOftTlJKnJ+sraXjY3f5ZbdRPJ2iQO9UxK8E+O4p2bpU5IOGClWebLdXWbJch8Dj2tOMiUTnGvdxxiZNLOSc2bL2g0b+4iTfQbTcJG9F8UB0d/exUBRsO0Kvz9e+MX/zoPlwMLCzK5WvL9UbItioj0HO9kQWL9fUh9ffIk/lxkUCUIZe8EX7aLLxWnPcDepVtS0iyJL1mFeukC7S3vDNEqWWx5HifzB6dt9IBkpmVy9/qXyxmE2drBSeNg6dr5USWrIA+LXjq9M2IIB3sJv3t28T7O9kzRz31zD4e5ziQnfNRSjOWeNN4XSUeaWmAruv2wH4510bni9kiyYLXe2sNyktLC7/Gvv3OUPA9398YMZ92mo/agSQRASV+MDy74lfXRoYclNL6xSmq8tcjxa/Pv8MSAK/vrPS84NPYeJ3j/7B0Ry/UZRJS+MxM/2xgbeaEtAzuvsXiGnP3CXeRJyShOcAetqRklYmrkR9vd8A3aZL4dyoJE70hJ7daKfx41AlKOz3m1xs27YuOYDkhLK7KsRezuE4zmzhK8Rrh7LoxrZbPLGIfcsyC7otBQFMiOXoJnPHMEyRvNGzlvctD818ZUipaEM66xcQP+By5wcIg/UxZyKuggeYg3k+V/DTK80RKIQz6bpYcM/iAS7vI0sk7I4M6y5Lygcai7l1rtpkSdKNcVG5p6Sa19tsJeO71Oks7kCHaTb+sLNvp4WvR9xFCceDYkOIM2g/fhruLeI08EncsZNX8e9MuB+mmeCNSdxFTUxpY0jN5zIwCoU/Gndm2huj1UVz0aBhpP+31TcWMazTsVxxF8Y9WiRnWfdueKvjUOUdUTKcnYz4gmKwdwnpiwmbX5xwhWvyTDneLphJCJQ2LmKQ0p1huS62kv3fvhCVwcDc5SaJ8nzl0MeGsaXWKCF9Wyi6mbQFO70GsUYekzNbd2i88cwtS+pdFwGP165FyLZs4MHEBzEDSk7u11A9Q2HU38/U3qTrNqu4JSOdtXHWBEN9YoeLcvgEqLsz+9p+MZmq5hsjDZmMq2ifzVYXv5DD8CuGRgTcJ4ySIZDCdDEpUUK+dwvYAlz5wkYlZfI8XNCa6BC70SKObVqKvS19u9YKzM21Nz52LAX3wRzY7zNeDCnbj6mxVRx2LEu2tMHARpZl29jF+4NddhfY3hpoO+BliW8dsbcQa0kIwkrN0Jnb4Rvn3Cz1CMgiqTVId3p81quD8TE5gIj9mp7jak6iFzEdGYJMV50DwZW+ZoOTYhOXQYtsvoFCW4eTo2+t00UXfw+CGkS5Sd1cTtYkLpNihxYf+iKANiJ6sMqa9bULyXBjS6EcEhnzxTTMaJVSsoXrtK0k0tx41OCGmA829eJD4hVdgWVnvV5MX9Yd/25U2iAR7v2IIRaOxXz8aqgi42dYncI2j3MCzZ6Eockp+G5MgG5XxzmcMLQc/mC9oiGKGkogYGOILVUp3bVTS73Rvm9YR3exw6Mq96sMbT33/o3fqdAmF/wxkUVrXFiv90yPxfJe4uaRk0GKtgYv90h2q72vdgHuisxnYSvkXF0sPwfsI1jTuiaMn3T09BVYwYxttvxjZas1hGsR6nwmpQSkYFJKqGe70KUgOb+/UB/klR9GGZOzf8NzSneVbXqN8Wi1Y6WhsBSy2qhTThxm5r4MsqA0Y1A9prCZyIo/ZAr5XYBACGQ8X+fwJSaVlS4MUHwfVImdDN/eezkFfJVaNemfHAnJAdYcXPR5TlrbUYH8NsmS0Rt5DDeeKJEcB9AlY9JpOSDB/D6r7JPz/9KpGvLqj4UpxEZuAM0qSSq2UpwNBRkKSEgFAAmDJ2XSS62GUex+BDvVctCHXPJkRR+Kd1alXYcFH9K7nXlQw6ne2fh0HkR9syLoERkmDho/NSC4QGaC0ve0mpjHuWr7i06ktH1o8GpA4jrFs1MJPSsPuQ/14lcUN3WDWtc7gVRTDqdZdlSXjg5RMieW58VEqiJa9p6ToE0JNJ6+ezYXB3Ga6qomxe/lXDUPOZ+MmFdwqoDyLzryztFNdWgkYzWBaB0ZXOlW/ZezOxxpTz6YZV4SUj4Ttm4M1Wi39nT0pGcHWRID54CKuUDDTkHDvoMjAMWvQO8sRZGpQD6xXyUiXMs3FRocinKNuUN9EApMLyLgYLSP8LeFYV5aU0rsD/xLBZnw3iI6rcOF7cLoVy/jR1X26nEeFJB2v1/tkaMdLMfN54SgkOFG7B9lLKOhpjvxQIvXkXYtTgZSAKz1X+ZteD+oj1xGJmYvytTPO7uVo/j5RbqVVfOWPkW1jEvdNS+5lPEvLwIm6BiOpaBn2pVfgcorfElQxp2jO+hR0WA/k/2s5NlUksgVvhg69He8OWK7oA+gIUZERaqCLBZ9gB0f28gay/ITTo//yJosSwWw+vJmW+Gc7LMFCLU1CDiSgjEKfbjSo2tTEIrd6lS15yqxCD7enaBmbQwC2fs89mXQxjVyCMZpX+MQ3J/U1xnRbr8I0b6NKa7DR6McSC8JKClCE1a7P4prjiD3Bp6qieZlbfvdBNoDPAErupuO2FzKNVm65Ln2Npz4/fMDnzaeKGqnmqXI+Cmcyvt1qLhYKM/JIeiAifkRnftpwfasYS+qRvbctVgLM2mhk3BMMF53UvBj45oBc7jmtcAmCZ3vPRkJ+6CnInZBgb6OBAPY4HTY0Ct9uMGQ/XtuU6Xn+PVPM2l5gnASHwhBki+EAFLneC7BqgHMqeebYge30bzr5tarGH7jDjTx8E2lU2cP7l3Li68pT1l5G6+maKfzv2tVlcnDbWLBiGO1eoJmBEjdskcWVNGVEUp89Gu/gtZ99BBXMsDvPrrWV5Cc28ebd2ay0gKt03IMllQgNxof8wq5BBgUuXgTH9G1kNuiTgvty/hQJ4TQH80owsuFuM6KS55BsKcfV1D8UOoq+z4XfmpOUVqAjjwWoytQlh85LMuAu4BCT7cNMlVxEMbi5QzgdId0PZIzaY72VT/C779jyKE8VSI6jd3YFfkkomePKK4kYExKkLVyKMjp6mqz9q0vwzqRrGyg979zLLT5ltlbLfwg5SP0cXb5mBUS63l1MiAmgPsW94qehUXWxHeHy9O7at3T513JnH3VKQM5gFBHMIC6SPohKAPdLs/g0FGMsnHt4zGSphxWetir+GTtQNU0dKUgDBAgQHAizQTfok1FnN3ZC7K/+gl9U+GnzJSvWRnuEq2KZGth4BcoCzjLQbkv4a3QPgEolbBhcSQ8Wdg9IjGwTRUvwdUtfENWnOyMjFlEjq88YaQ/8Nom9wSn9nionup2Nt9/KhtMu7j8gtKE5igU2v+yBIlDoviJmnS4mmR7Bt/MCCs7Ieeq8PNbyrAkvkqreowOkoXaMCxBSSt+g/do91ccD7D6YfZ4zwwwofTWHyLORVoIC2e+HHtf8Wz7UfB2CzvdaitVX7yu6OFcqCSknCdjB7YfLVxDbsHJSeqYqsFA5/FQc03YRaFoPHmMzNNnBNozVtPGwnWMaAUjf7RlQHxbSVm1TLBNNUFNHjRSRl/LoloysPYXbQdsJgotTGWXtZAm/kLgmPAbs26SU+UnadNnUw+ylWjOLzGL9rLeqfEJ7qY+JHFmM3gh4P1VO3Vx3ct2NPeCC7by+HYutUD3nEfcwAlq6mvSAPduMwQvZTp7X0iEEfgMlUpsS0bbB9j5plYBCbBGOJaF5XWmjNKpIa3AbFoU2Auw9rCO5YOaYP4VFd0LUdHyS1ysYOF9IJ36GvcgLmGULx3f0oNdFdj+PutF+qe2yTv+Nu365ZPebHJU84ZepSvo/k/Usn766yf8Gxai/x7t9jYZhiIsa+JWIRhsSj1TEG5VZshr9FFBoiTU3QPv/VKj0EiyMql1IUUUHupUJ6+wAVAG0J8lW+mlW4AiNMVvw06+0bXOl97SPruxMcF+fScXRiFwb0Ghb2Cxm3P2v7E+yzXFH86AGtI+lFwN861bSNHKRrsRQz1S4XKApFElapYZTFTCImSvZvT4H7QFyvCtPqu+l3+S5OAlTyiF6c8kj5nnhAocvFkxYBDGtTjpOcpwfurYRRxJpxCYlW82L4ToAbLBq/mw5N0Qe3e2ZdQ4Xvy94AI2ebbaGeQ7Q9F3lw+RYxOavy8T1tFvILFCXWUAWfU/XBf6a1TwCFMDMStvG9bk/05SeZxrzcUd6mmG+AHkqxgS7kK/IrGr9+bHcF2W1iUBhAoTWIeInApEqexP86YXGdYVrQixOgWLHMpCe9IrXeD9ASTLjW2v/oBptUQlVjQbK3EyAex53X8AJYITpiyrXrLwYpV8JvhgG/exOjS3sj1+W01MzbJh29QQNA8tsZLxa/GPSN1um2BPPDjK1b0fyHxlm4DO5/rAUF9/VpH2Awcp9OMZO0N6MII865vB061UuRbJF+hLt+ot+4/IhizlrNZMpaWNi6j0gL5W/5cjkXdB0fInDaiZvmNjph3PIPPGE+v0XLASImVfhHOPvUrO0wE2UqivE3NWlJSRaTtxopxRS/0O6Fl+x84JmY+BqtgALTmFG5/7IMaNlztjXWNzcVPaDSZKl6cfPgpAAU2Mlj5vZ6UpW4ZnO+ch2aIhkbeagCtodBHdY03R0+ubrWWAPXlRSTL+wl55MCXJ5KuSfpff2rZR3a/1odAkfZ1nkNzIs48onh2wDP711GOPzyuXFICwkWAzdXHk8athAvT9Ok3o1xnKyiOlZMhJgouZw7EpQeXoNAL+XIt8T9raNXVDc+7rEquyjY4/yc8hJcPRhvbCYJnuy1Tr+ajMHXH3BcRiiBM1Dqx41TbXSV31vdEU4les8TlBSKWvGiisX7HPPIueoOZ3f77yvKUTghrnVzpb6WnOyFclHdJVP/26m1l1Kdm+a47gQbzb2CRwNc3kjFumpPVle8yKSvFEMjn9JFWvbm53InIH5tMfT+zmPiWGlyQr5Ndq6Q5+4YwoibI5pH1A/6sV1QuUmMqD8QO7f/dyNcYYEmvLKAd27uTqAluFF1L9eytiZhmyHQONAXQd6gHs3mytch5AVlQLdYWT/psrJNvaCXxl+T+XblwqpN/XY0obZDF6rGGs7TAf+rBQWKkMiGLip66oPXNwd7V1TZhHGkPsqYLykTOrGpMOmr7QZ5sOobHlYLrCCQLBZ2FLV3+8KhQ8uTt4Lc9Kfl4/o6PhRf07QCVmUwrYUNVtUkdEttFUM6n1xtK+eELJwe194QW8rYb95lzsZ9SPZZV/2jWkeWZ4EQrLQlGIyTWRq7X7MgUO1s+1I2sUzJtvnHqN4sm3viZ4n06LWHAIMlXFW9cHDqhSSWpC4HsLwWxiyn7AFoeyZr/6I9cB/oHWPrIqCvMfaoOv4VB8CKuFlbDdz08o+QrnaGgUUiInE3Ng08Odzvwg5mbvZwkOxBjm7c+H4fE+ZgXa4nbXyKFoy9Y7y6Ow1LXwIxz692ok7q4S5KFbD5ClQ2iUgojYM2g8G+v9p6fLboU5GZnKnn0k2zxK5iI+x/AA50EDEA0jOpWFjW+DAWcLmjoKUVMF8E/NuYCXdEewOSeH1iQhIvtsvKGYJbiaz/LTo842WIE01OeTf9Hq/KDI8ulRgxqjO2bo3+3DjOPAVQ07d2K0KUmVniMEW+gJA7OioUUtfDQ8ZrDddBEYZQ5DWIUvxzYhWo+dTtsyU3DuJo3DGNdhFPWlGM1z2ofZFpnEUJ158qlQ+V4frX3S6FAT0EGprElanT8/K9W9z3ndLuROnXOcRkzEWZpp7Gt0g+evbILqTq56riUfCCG/Am0fevdYyvecH0SD02PZRHTrlZPlYPlTdsM1yy01y1cxNNtJvrn6L3drQS/Bdwli6nvqO4AgrvDhKAgurxFrgntBNIzbYf6VNdDN1ynykNqv+zFvPwQy/6PSpO0xPxvtILK7hbzNwyADXDhIFg7J1xlSfV0y9YgwIpcf1QxbUWCSF5Hv+Y3FIw1y0wj8WzSB3GvX4AX2Z7MDzmnXU0ulGwoGm470Hq7rz4FRSra24iqHHOC1iBFs4Ac4Z5JOLUtTs521zOrAprOo4rswzHOpSedapjtNWAbR8fQTWygLXMMUdWC8jpQU242OpCjZKP0LW4pU+Niv7CCdgywMkh/BMB4GU/JSdbkXG94+grD43NQVAYE2C2qQcX07IjKLJEIqoAnf1xltc76QaCnZJMOOZygzrm/Fykxf1CfxsG/Lbln1N0LScDa9WxQ1OJIExtt7Qh+SccpOgCKWhU/S3YQqqdl+SXN01SPzw4a9jePfqgwXQtzPZLnIqDNRJv4TDpYKHt7ccRBrPp7kmDE7PMLhx0o/t8kbsS90+KdY+034roqz+M2xX4hgJifDWDNM7uUFOsJpKLC3DJwbZTrFCxxE0hkySKUYzVq2w0OkQaOkSMA2GNb5izOVbGWXYH8WtrZSwj69em6AV6ZSdIwxoq/ZwD7T2JIP1ch6iL80ZJiyhLCjF2i3cBLgsz/pm6rqj9pIhIC82t3soWPEUizneni8bEDugwWAO5fkBAEm5xyO33aQhBY2C+GWFJN8or2yOCKTmEtsZscHsg10PTfZTiNkTNqksRPCsK015it2Z/PEfywkgjKXuYhJT4p+XW1r8etciV0vIrGrwJ+sR48zCBR8W9YoUjHXSHqA0SPNlzSwkPE7L4XlcQlC46suVwJz7CNA7lJK/+eFekbz55Zn55dnp+otWVKNem/84t0uDK0EgSRE5yXGRvBDaLXl1IMxGLeAMNMLpNHnuS6cjdG3zVarK7+jxYI8weqkZvknIJsmn9t9ZShgur3PhIOwZ1R1TedCEbdbF0OVAvAzledrJAka6vkIbO6AccAOmSDgok7Wrhuk8rMwdf3cR9nbw9Wg0hERTs+5QXqQ+hELYAzGD6/6C73UvWPP9F3pLMdslb6z5yaJDvQJbUUUVUfaZg2sOV0+wQdo/2SW+qbmMNEU9cGvGTVl7Gan+fiTyuTBvhDad7hoHx3BC1PciQXRCloN+sJ3zW8bHqxyJGSruP3TqsW1To2Zq7PdDFViXpVb++D2bsczhrmO9FqThvSo/E05g2okVGdfdMdUXZVFIeOo/ZZfWkJj3P1F/DlTah+TedBY1X50N5s/S4Aol6mDoLQ3xeB0bbemIU0VKVsRE3CD4GJV4ha1/u89wrIQ0gPFoX7Fvzcd07gl6euQ2uL4IpCcOZ7dxDMaQTrGe5S4I+iIa4sDhEnCtBjE9hkt+wHEv7wEr7AmAwlVOpR2vx4QUvESZcnZVjB05qXvEXz4LvvqzNszcCeCsHs8MlJQ953GiTAoSWW4effvXhQulb+6M13G/1Y/7iAsWPGJbIFW+uQEzkR6VcN1CkonHNGNrr5rDfN1Z8Ueq290D3x6LPN3cvxTQgxM/vifrpi98xuumKI8b398OwdPsHo1Mp0fIMOrpA5ZJSvntaKjA/BimbLp8WAVHp2xtD6qOqFcGAVXZ/Ko5/3hWjY4ZeSZkloS2VnWcdxBFJcCxgn2mUFaJLRqtQxhqXSGa3fmdSMnRoJTNdC7+lkWeF4cEc16J0+U39yO/hvWr/BI/xj3r+AqHuPmEI7QG1BnYF/U6l4xyncwgyFWC+RuGCtXRJ4tfsvBgk6DohJnhIgIf5DIVNJTh/CIgqlWdGVGG790UGPzqUbFY4TkPngaASzuwfVmLcspaYhEH4vottTJM5pn+h4RD/3MSXrMWaCeRFppMBjz6QooWektYsN3ueVDYQxXjt8B44EeimkpvLcx3SS2DBBpp2wLFGpbol2buz7RtHMNwyNP7urwVaycfLF4V7nk8EbOI4F+yg4l2B3oQu1PU+0fYRlBg4eLDGPaaPYQFHbtroi/ffsmzOBeby8UVedRxx1LiudZhGMKizBJmOqzCoNCITv6G+3AShoPl473WZHglNF9stRx9di81fUqaw7fu2mJPLNYjq4JY6noQxUOYP/8bUY4JYJeb+bu9X4mnRhjC+bVF9ujd3V4shkQcuWQdkGJpzapN0IWmIFJiZf7SlZpXFbFd/FApP+qPSWkBYSYuTp/eC/2Jf0wRj/S4Z1TSEac12ctlLllRbAbQl/6ilr/aX8YLuOQO1/01fm9FluKiJXb2RVeYzVl+T2PxGvCc3aRmRFIg9XVSeRCeOj/VW8unJ/1bhAE1m0lfNStvPgr2CapDdQjwvFP93276PITClz+bQfHVcRn1cw0Fwg1DT0ySDhJQ32g6uHbDe3vNQ+Ne1mKZVd0ZDMpnALfKRFOZUyaA+O1wiMy6IwUyylo5Kh+rDEwZ+sVTYg0AqIrWG6JftZtZKJsqefZiVTvpRv8VbvIKam79lVydjgw2AEs7B6NAdlFC3MmBa4H/b8Nwj/AGM7UZAFfVSh5W4BJhIkZjU/IG+QH/zLGJWWXgc6dF1lNzCuRqSTZUcObdgLGtDgxPLcnuHFY6HwOv0s4R6z41dhQ0c/wt31QdCUHPXGtWD53MqqRo60O0afaHrz55DT3EuAzvtNxbWpGAjIiMhPG2f2aLlVK6NJii94aePMfuIK2OBKJ8yQS370yWPbAFQfSzJ5sjnZZE8Zf9Z8QsCOqE3ytzmIORnWHoqw1teBKJFz5kqrbd5lmsOc0M1vAY3gahMhakEU2Vw2PyDJ4SLzZpAPpt2Cz+Fjk5roz1GemfIt1aiDWOaQmd0OhsLOS1dkzVrSySr4N2IaKFn7OUF4x89XUeIckmKrqR4YOqh18XE+5LCwgxaCF33eMkeYdAfkFXEUmpdMLgoLLgHZqqZPbORrtQaM04rRypWxIOxQnDtz90QKuZAFaNZq0USQtr6QCy1kuYoeEdfJ9TCnadWtFqdk2xeq/2OicawrjsQyIdY0HZVdT6e2vv11wjea8laHxfzNXBZBHDR2QcOSj6VCrM+hrbNE153xe+DDZ0xuUIPGfY1iqaKGyN+HKndZClSWqONwZJCVcUq9s/S/1yAJ+36Rxt8vR7tvNnnfH3DNBUIDmUFhvRnnguVhSsLBesLR1AATgC6UgP5GvLs3cvSy3r9FNSBIPZfWiFu6i8HUrquCcWtcSm7kroW1FY15eRYVGyUpjw4+Nn/USLCkLrz9DBy6clz6wwkCJEpmO/LlVZwRH0OPGjXJSdLEE8do6g79KvN7M5LQzTEUz+sTmlJ2EbiyOXMyhdB4hy/8lC3w/w6mvttWFuUPNwphpqmU8Vcu6Mlebfcx6uv0zbwxc0OjKst7JLx5WetVy0JKlYkm/Oq8RMXTd/6DoaSc2o9mWbmhLDPNmtix2wlNy8yGEDXtPZvllnQKddG+srcttBQI3GMgR2JDnuelCrliYuSrZpuky2Zbv+gNM6fetGMcKBtm9O3sAKQ0nGTsrvpP182psXDN284Akb8rG78yp+zkhpNUd9HQXaRvjtYGJUFnUHi+5T1of710arHQMzGTu2lxUYTANgrHy2sfCD9bN4DFEBJEpLyhVsuv/Cae5EhmGsgStKODRGDCTtoCFzEWGx+JaKxuLenOYGm8pueoibwIq80+66ToBpJEVAR84PwSHCaG6ARTvmkzZNUBmqkEvnSmjTbz+x0M2tOGUdjJKKrnMCWMUjeRL5hUMYYj5zm2JBCzo8ksO7zAAGp6l3B2iK7lbqEynkksppT8qisrigqFMGJI1EfFSsz/eu0QHAYw/H+VgmxcvXAUlw3UdNM+cM0Bj4y16z1fQkmv2hU8PGBfhRz1IxL0Oyf9BLWOyuJxocDrdaLG7Gjg7C1/k2I6A692AtZvtPSvWjqw8IcNIlib59weEm4069DajASYzM/TUzeF0HONWWCi4qOCSWDQTf7kguXC3EbfPA8zsKMS55QhqBlA6X+11dIjucAwfR74sjjK8jAYXiBIKpamLM1RZB9KZDEVfEP9NrzGXc6g8QOqaXzplxJH1Aa544cUGPIE3osF1pJEDHS0AgpXR6Klin/94fX5shVpareWMJ2a4Sg55RrLRx8jdYv6C+I4Ylao2lLRjrIjymE9Fi7HMa/QhQclJuCIY089LOe2LK802lla5702TIMJVK9J9t+ecN6Cp/qHiXxt0ss6+t+2VTAyysT9z0FM0FaUf0savvhSNQ+kI0XSNIo0+Y21a/8iW5EGa1eIqaWiFK3L6SuMgaRTEwa9FfPj6L3rx2eepAKiNydI9Abtj3RzPMdNWvB+hQZJRb4D7K2vRU+B+3ppyH+PPnossD68zsDnJgOUULLpEokZNbhobRO9uYXTSXwVogu2xnlFXqthXc5X75N5+IeSF2+CwGrDzemFChc6dL0oycTrCTsYOsAp0k7UvbvKMeb13AJHymi/JslDqyvARgJ4TSVs8Fl+QfjwgMhhUQbs0l8PFfuVL+u6uvp/u9sCBgMljWy8MhKcawkLhNrI57EV55ryYwJa+MiYOyAJnfCyFmL1rkiv+N1wFMK3BTL93HuEVKrmc/nHU3kOJZ2ieZRG0GYtGUEmU1RazR3W5UL4EariN0wV7S/OFka5VWK7rssO1762I6mwDAvaHcqozMq+yCNnfu3pYCSJ0ODiJMjeQbRM8W5y22OFXzd+66S6A2aY9iL+0kYSoVsWSea4Z2P1lcXiuDazjWWVmfaNUJ3ULsTyt/DKbyeBOJiVhhpfhgzZqbw2cUcDhdpYj/+D+7ZdKJ4G4iExJNMKYV4NKnyYnmJFKwu5twYiLTbOHNKY/13styLqgjtRkqFVjLx5EISomFUEoabAkorTGeTyATzOeZ1bTv5FcsxuYJNPkKiwX3GVojm9rVvrPIQJcz4IhUNyXfo2EI2vTcV9I5afWzc/eOA59uyunhUeYRPx+boTNSWso/QNVEhqB4YtailnyXjmVpCBUzkf82Leb2mRz69ESp11xLVH7UVmY0Y0dhiTtulIoNMtH8IHsTD5BPmGInIyWtJhoiVuY6xMbMHqyisiIYwzMupZK5DfQCPePxeANFB2qhZDVhR29hlTLsKkqmxmHDu6RHu+TaeRHzwFve7o4WXgiQZ5SyD2nHNsIRac4ORwPDd8+awZX0i7ohUnQAlLe/a4XAew5SNqu6hjNKXyrzvaJ/4aJRhemhzOdZkW4O5PcNbaDflXwtijbs2mqz4rD/re97R6TIZL47dB+BPGphjcVtGs075zyElwpuzzuZ66NYxlmziBcK6E0lDJGfB5ps6CupAtsyu4fCz8PRLOBhD6mjetxHPTYcpomBgSe9sF2uzdeHTdB8HoNDu9COcjH8ZiLHMjlE20QMNBuJ1r2GZPFaywF2chsKEpbdCbHEX1X/lqxXTtLDRqMbptGYI9yB3NOAmuGoqhGppHreuknbDgE+3APojyKmQbtUpbOvTXdKhdRukcyVEHGX5U6VrzLdAPn7eeCEJXRTDeePptEHUD0/nWT9osZzTSJs62gOM+X+4e8YRRyAZfUHORuQhRNcNIKEh/Sw/bzcB1Bx4w2N4x4eWEDpD8hr8g0t5RqWZwtWdJXU7qg13B91juTKYU7szJQw79c+nQFsf+kB7SlaMowiQiCNaOGIHUILCeCP85EaZFhR+PvBIx+qinx5RRPyQIU/QxGSAJDPLkDiGWfB4IEiMpZslyr3EuRAhPF6zh5N2u6SNDte++UwJbzlus4e7gsvjvEjLuDky5pYAuEHgEBmIYiBuQiEGtfxcHVpZBx6aVT8LghG9ybTmgpJZ2smEZg7DmZyYg77A7dapUZ1uUIpvuq8S4E/SerSRDOfOuLjL0pzt2USNhq6wYdxllml8QSyRSZ4cwFgE4Tyukjh/HTpdMcrBtEtO/51rc7DwFoJPvmGSZZBXJMXKB+bGV/OYRNbiAiJHrDtR2INdGkNQa+jbi7kXewc2YL0ZrjPKDPm4r5DKEj6uDEQJmKvjbH5rvDpL6VV+rq1zp9LcUNwqq6yJtQX6Tc5T8Gcm649jHysy16+8+v0uStLwZuoi2UgmboJXlsapZdd2NSUhCMmBbYjHSsu3jRAIKKut+HmWkBbZ27VQmRBDkvurRqWjZCI7MZPht8hYCSP1pfGFamgkPfjGEQcdHfs88q1LO/h9sIY3GGEI9qTENqqE5DDdE9M4r5Rmoco7bPM38nQMOG4n+A79wFgzWzoGf8bf81lxPiPGAjGi68Z5v2YTPRg0nulWFSH08dYdnINKgwCZQTkxgCXkOXOlwjnwSdOAL71tFUAXaee5BKsL/KeFFEWsavwmsXT8S5cCluEw4QpNMkoV2iXFKFCNs7SMayi3YVCcohI3Vef42rh6VxxgN+8QokobBl3waMnQlKYl0pyK8xg8FhhQqG2LZ4ottOUq+E43T1PQeV8BimYz8/mh+9VIz1J/2Ozeg20Yfkk4o4FM6jnRqW3Ii3e3UPwSQNFFLjPe7z26HZHWrDxcNv1wHjEOkwzbPJpHjWeijWYHzv4kvsd0NTS2+AEsdTmQFcEsG/NxRsi3kMC2Wc4CCxJhK3AWbooTupe5UZe+j7IrpfTDVx9iaHEj6/CtlD62Nf5ZRgYWLcE5SKYYU/tXvQDUxuX7oTQ5ECowLE9Kk5vc0owEq07B8Racd3cGxv9jdNwUgC8zo5HguKz/gHlVShv0Y7OHNIFRmTR6U9CCwWzmXCyOzQcWTHOMBblLkEkxeZqm4ZyXDBUnr2DriYbxJr2sPYEpgaDCAdv50QRTeW9xoUfof3ERA1j3Ilp5dmYfReZ8+h7mXYt7L0G2VQQj6AlfeBuK7SATeAcrMexrwWVzdSVYDez7RdCMuGNOErskTfkoUvBQzyRccpKQVyrgMPE1cgLWL4CisnprgTRglJ+dO3074LDcWM7EAMeQITHfC23X4DVZQaDnHGfygJciImG7XbMz0BivSsInzTk1OoeHYlVStVOkneBNVltoMjXbfVHjLmYd5oUSbz/nGhx55+LYo0quI/YNNLUs73Yn5fIayqj4FCKr9t/A1g99n7X/1jPpyRHPsWMP0EXqaEiZmV5ccaudzrCFovvA37N2ahUyR0jHY1kIf3QJWDEEw/G4Z7ACQS8NOv6StOOlPJiLePVdqRriLuC924fbSgrBnIPZdhPm+/QAzqHQenKb5WT2FMoSF2F3UkNl6mEzUIRISU+g6wKVmIuvornhtKHZAHa+37Y66j++z5jnsxeKRxTJBTthdg92dMTr0rrVq/TzZ1pA0ZG+On7m+43wrZxZfw4xiqM/mOGaXhfbIIpmngnm3EbfAJhdTsboujB3H8uYi6rZKKF+jlbSREyAexeMGPRnJdNQ+hA0yEiz6lhYJkG5s4yVwxcSkZiBHQxxFNeMSJ0z7vF6j5kjl4atlvL6TPlPc2wMy+DyiFJEZTNq/k7xOMhliUUwy17k8nDrw4A29fJKgcUYL3fUM4akIXaljKIVjRX5mlTbxBLjDqkNo+TfsUcq1z7Wy641VqwREKAAGk0nIwL8LoerRd0OwjxCXPl+DCZVsvIQ5rZDU0Hle1mo+3K9NnINNsjy4RpvdRdq5BOlB6xLr7lbNsVLJ6vnld44R0AoQD883j8WXS5Cq+rkQMPIfN03wIMNwWUPS8VtXA0SaJy5Puv1MCd4H9egOuikDAwsnICJFT3Vh8UElI7C8ZMW+c2f/E0k9ffc1rOMVoefFiJy+ghuk7cTarVbnasef920t0ghd9MLVQ6qeVCd67u7xwfe9O9DN1nQk/khLtTXp6uKsZZ+WYa54wXj8vYFncaO/1lqr0c4bKb8w6y04HZK13ftEmm/GHroRigcXzsCB8fzh9gc4GmU/MHL6525VpyomSSlVtoH4R2dgYxgOnt30EAzmGpPCPPArD7JkjFOb+v/mlQxRpB5Oh99vYecAV+SCHxOA1wi0I1OhttNAgFO9wkOI4F5LPoCTBG2pMWUk66lPNhgHiFO+aWea/G4tntKv4CemJTKQFNwpLh3VnTGuLfipq16nffxJxgqeQGuPcZlC3xlQ7jWmvCJhV1vHzncUCmkEEL2uBg/y0FJ8s+N6x7OaLu0sWftjtfRoE1Cx+jzxa9zVEOp4c0TzwZQ7UIaT1VM+qFAZSTd59cRxYmOXGGKScotHppCBg01h1U3wUHH7SG0Rwi1ESQSgh/QZ0ET7Q7olyEnl+lNtqoXjUTfvV7K2GBaBGtEnf6fW0ekQVUI5IWta4rYRvLGG9Bb4bbCMfteLNwZpxpx+NmgfGa+JXi8IQrg0fh/KD3QcZJdtlWjTm1sznPG7Pl4oqBGFikv6l8+qv9iyYMI894ZMAKyoxOhjUEBCJXYFtd6Pq3FI/nm0oby/CjSZE7Pa2AYpSjNMQW7TSt0taUT63DPJo4edd1lTaIRTomylR9Ax70uxro0tD+6QESYpNaHmR9U7CRbwW/ieZZnfuBQbXfNzhOd5+oytfacVF3W4dOEvT/fPZ2Z71nfKd1j3v+9TuQT45HDSj3+i0HbOqFENo1lM/zyQv5jihVEhU9XAOwvrcvPpsBSk40ZaJodHXuHaLrcJrFZBVt6eEpdzWm6j/U5cJ5HWiupMHvKYBUR9XWovZvn7199GU30JmogS6voehjhbAXah8I/KTQimuNW57d/cow3sht5a4n3nd2UcwXZDuqY0lE3NalTCnNT0O3lvJMvlwlz+jV0PjEBRpYhEHFISm90CVl0hvHzw3deG1qUU9olmRIcUVjbFMvFxhoLDCZq2vDQEp5fu/WdyuKI7mjDvK0Iv11LYR8D17jm2D619HI4znjPcub8sn5PK5+sx025R5++UoXuwWcaOgJ4RUAfpPcQwRNvHMxDFG4KBMdUoOTSRAX2zNPvK1aO8blwWlEoUhIoOX0Zv3dcNx+K9UAiVHXKl+U/kC9y9eDJ2qPrnYHJ8DQG9ViMcA6S08uM2GlyEpssEwA7jQD37F06OJoBb5Mb8QY9Qh03dIKQBLmJkseYWri1DQO5yP4lzlZi4c42WqifOxOkjvYxkvcvacZUWnyEXbxdZBPxnqMngUXcR8dkhJw1JraTkKpBtmdOTw98mlr46MWHbUgqFWcNU0iLhFDVbxD4I5AsoAYgE2IQZf1fFiLFKeyNrQJ4Rhd2QSkPFSYnOk2HJ8/0qO6djUJDT68r/9FM6P30yV4c4df22CaVLsro/TJ9yF7tsPcy4sgVZH1Xgj/xjZ03G6g4yD6lJj6YnjiID2Mjf7l1JXXX2lTe90/ghdos4YFIC0kpIM8+aAXylYoIQeX2dBdUnJfYDunN0r3yt6hUjWcsXFAKQlSZgZ+6VNObStEus9FA4bu/E20N10qsgf5/yLT2rIrT7Iyju7eTO7+/W/zbMphVrQSbEpo/ZO4JmXOYnO5kQ5UTlBJS5Ft1JhFdNrepoJ1lP+b51QgPJri3kXfh6aumu7njKeUgcM3DJ/jxbWCM+ZxA8R1Aj889AUjMy1BhXc1Y4zY2x6B1pOxgX+hJ3my6M38epxZPXfZ+vwdXs3rcfFTp0BAwqnZX1gO53kQtlbKxaGWkMnYjB0wAfAo1yKNmrz82lhS1IkK/uECPGrV7zhBwFwbymsPAt5JSqw5IEMljJcQBM5IwzFBLYHxq8PQPSE8WXlCbQkQj+BN6z0EH5OUR4gzpewuMpG3y+LiQBIvi44hGdhUwPuvuFhLYsYlpMrPS27oCWgJVQKmbTkGbplsJAJmZqPZYaFyqRhUZh5LdqcR7hAB5g8NNsJuEmurNQBmA0kVVNMYKRHgxt3HfiASgzTT55qqoqIuhx/DsjzUrHJ0jg77ytRzeZ/Va+raYYzDQjmcsYwr6QX+321FSdj0bpY+9QvhZwBx27Q3H4opHqp4IyH6KLytwdSI/Qi/fo10uSyPHqMHIg/SqQROR7E9GTpUlgvDVpgk07YutTV/tgikTP1ANjbxqXsMPWKtprVL8iXiISNlA/6h5K3mSpTPlbc22O1KBIeb+Xgb83UwbUP2TzQ+e/UGRAiGiMlIaRd46MTbcWus+g1RCvTEo+3N+viavW3RlPALw/FgjlXx+iTA4MQ2fdK5PWdblup4lav5AJPBbRNuhbs54D24HVr/wrQvMo+0przbAIee857qYEffsW+hn2xz4pdzD+kV9WHXyOxRFBwjKGEo/vRrJj7CWRWD59ve0YPilwAybcLYAwOHZ3GwQ4deVBoadsEVmG5Me/fVIICTsLYnWxhwAh0kZwvxunyQ3rwScon9aHF7gr9LJeM/4Ec0U2p9ozsjb2I2crri9/ZcJGOHY3/9rCXHNxmk96yrccZH0bkhcER9IiAdPC2VBM7BGAWYY7IBvlPoiGdxbGQ/PbPUebMiFfyCBw5/YzO1b+0g6CQI3ncgwqlVzgDrFX2zJEQENkl6w225Dv5/dAh7I4PFcC6ZX0Qd8LETwqB1ELj5KlzYHLQkdKuRI6BTdcb3uPMWBAp91enTY/CsptktXG+uahn++PEN9oIq4t+HgcXPviNTi3W3tRmCIsI/4V6SnaYv8IIj6lF6Y9QBpbVfOKUTt7FcXSzB2ikJfzlZkDbBsI5HzFv5Nl7dYbao+DZvPHEag2q6qi4CB5CfaeugOwSPRrTmasCeSmLabicLQZsZOxNzkPhfAZcVhmCD6xs8YfgXUuhsDtnMczmhHxZS0utmW7h2KBXQ5K65JUkAlskN1jEHyUcRLVw93+pk4VoKKLNsPEEl0haJbOrO/7O3Fawhbb1ebEQ6RiqMPSCdtNxnKSJO1AzvV3cKu+duGDl++2ySeXCNnse6uPKNFOU4hcecZXrI7AR4BloRUj/j80SiWInfd6etNBNgaFLEGPM17zETQR6RUE46r5VAs1QIF18uPag3dt1Ze22c8ICeHhyhSK3nr/cHyEyeJeXNkM5J401W3bu7aW9EO6J+XdNt/NaLvE3QdfIqF2cUH6+xjYkb0ktGzv9yFfF0//DD9KHAL4gKrPXAhJ+bgzOXnvn2ucpX4L7k93ygqXbgC8Cl1EQv0dUdFjap/nJr2Ityas38xLBiQQqaW9R19ngAhiwDVITnqcEjdbpi/nMnEs0ilvzFnP9HWMsrLK6LnB3KOzf7Xrfje7ZNa3EuVQAZNOCNCry7iUsVOv3ZbbLGbWGPCMGu5fSkb9v3e9DnnDu0XY+3msDNBxjgItoT6MV/0/1QXKyljjpn2JNZItV+o/hDrKfhlr3dkJ4687L3AxijxllF3PH+EONIPn1NOLrIzN7k12j8hMx4v0AQtN8JL+MD96KTRu1oWBZdygIwx4792fqYEduTYYWbP2q7v3ZbQ8sqSzre3s1fBv13p82tXZrimKnOkwAbtFW3vPVm29YHH4XBKllw8fhs4Wxiw36T6JsmzjOJ2q9+TF9UISvFUqy1oZwziaTlSXuJkVGAlrXQuzGcNtC3fjhI+IK+syHSt+vBcxWcDEIjEIIZUm362TRjzEH09zqHtjOkUlJ47ALsoMNDNSDXWw0Mdj9KnPyGHcTv7ZE4hShuZTFHp8R5gtppSI2zgMgLjdp7rkX3TDJ0uIMz2rtGhMmznhrh6zLHa+Dc+mzaVBu/gcYzFbo1fjEhZ8eGBR5/rySWgXzHNX9TvmEMPKrSQP6H1/Bz4f5AkqigRO+qiUXJtBLSJfITB/cV01kFqiN0W6VKTb7coTn+vjKAuhhPlIKCdFOzc1/ISXBMgwiUtEvnyQuAmIx8bzwLDtlWRLekktSbcO7tWPD+vMMCtXKy8PnQhIS4y+6lDKfwFWyPayvJ7XUGbav7QFJYI8clcgFX1r0SfOTjjn5lx/zuoU/cmTuCLggPfs1dxDTs0rjrZxOfvoWjA0V68oiYVWuxjb8oWyvcmBY/cx2vRaB9ZUa7qPhfru19vS9jhf89cmbPlYE3AYCKdRaFlobdhFvNZUtBKmLiXPkrc4j4qShZ7TPxobl5qC+NWARlC7e4E2iu5He03s/Ql/3LPsvqz9CAtW34B66lCv58SfSDaJE3IZhuuZDhXv273aQXKhNpbS3feSOHhqP2QC0Mlsji7zHUnbpxLIcIZ1OeUJ2B0tEEoXZQDCrX2Tkao/K+lfEBxkzKqBcgrcFonL/APt501ThuamGprUVIZbufpoMDWjM8X9ExaD4gLIhUWYkFhtpy6xjOKvcXHiijF13M6oT0yhAWeYLoDHH1QSjlkXeJaXo6iLSdzi4chLDeruOMgumGGl4dh67qArNuJeDGpD7hOiPuy+1KsWcvPneV3zA6rmr+ofunzycV7w0lNiY9EzVDjC+2R8qI1couhIsRW+Skkj2ny4bM6ZS+mv+0XHsVs+y8t8YyVKVDiW3vVvElgOyx6Ajek1ImGHwu5utlr39QGd4hzaPjTtORmu4cL0IomdyLe6jbzWJer0iwNP+c+baCzdAmnMAz8nKVlfL2VP1mmNW0H+GFafTmADAXI5hp0G1BnNAaWidxK4Wj3BEQNDZfe259Ue38QcZTLFxmbV5f3rFseT4WsyxGUAIcCYOL/gBPYEZOW1qFyKfWpO4sASgz1VkBgL+tN2kMnSifxvjqIpsjHT/3Gea8B3hkrCRzBD4GYCkfikesEKdeuCRlOfJY7m3rOCOFOdtolUrVtvJrc4PNNfgSOo0W9TDbFXn/0AsFQPoh3/qFp4l2NmINJb28dQvtXHSWA/51ghmg1lPnaZheKoqhyG6UsbcDTYjNB792MqCW7KgeXa/FI/7kqT5qEiPpx4L8ik8uUHX2PBdpfuIRZKJ4P3skaod3G1NAz9obKBsMUk9GjzPy8o/nwPAXaJbtGgSXwBuoYAEPpb7JFMPs8Fd0ryK8Rk9jnENSAQcKxib5zaKD4wxxvqCyaWy2WpO2HgI5HuQHFjEUpFRVBAQXTcYYSwP3wd7JlEMDiVLukLKRi/trHpqUEHIM17kQGxUfR5iX23O7Yazl69QJz/AcMNEJH9TmvrPMqZoAUkFJ6p4t2w28StqLED8vjqu/iPhPhuL48j5VUWg7ltZw0IiozzmbqNv7brN5evkGZkN/YSrWIvTN871kBG1rC8lXwoPHdSEJrtXX4WwPEQuzLNYEB+Iq/1t9zkSMpWMKRFQw7mZdcQQ55IBcaM9rOBQMmhewO7+535CEgr371cLOPZjkSDRzXYpOUFmFkJ7Cv4FgRyCs8Yxsf8M35++OFnMWOxhX/FVrzh9F1CsnsjK6e73Y4CLfFn9MYjmnXbYxJAHZNz4TtNdGpyqyoeRFGEHVhg21ragsr/kdnC3tuDyaQ9/z0klN2EoxY3XTlHuhsEWMvuQrQ0BWdrXzf120W6km4wbwlnhxCN7d8oBnETF95Qyv+XE5xvOm5SwSFZh5XLy13YV7HNSUUCk7LdhUI1NDNmUsiZo+kfwzFgTSnlUR+EvSJqJzRSwiCKkMXkhoySpc2BiWlIDkbBSegQttBQjqTwyj6OYll0DIU72nomcRsekGFALrims9JajWrOzFWlRe4iEHq1gn4QlE40NDTa3r9PFCAgEJJwjgp54I4xsDkZf2OOnz9YqmujLtjbllDCngpNBglGQFGDtkKDPIXe2EYewAB/YPij1aKk2Yyl/vWlmhsyziT9f5mAHa8ZY4zFuWZ7pUkE+BwMFRSz4i1MU39wY1tzQaB6EGVtKQ6ZIyPmUAJwaeeZ4IpWxlCqotWNN5joTbgHZk+AtggPp+hks618rbHEY2PjViWp6fv4NX+fvcuDwlH7DSS9dHbdQBmv9+TiSCCQ60HbDYF/I/PNi5haxXarCeo0Yfy0001l+oGS+2U/4LiyP6Wp6D+mAwA3V7YiL51lRjZTdLcm/EQlY1G5uzhUPrcQDuAHbLuAqiuIIOAVkyD8+QKFrs2ECyApbnIdgIqgTg9WvOgG+u9eK2GBwF5InAXb4fxBbwCSaqIBIuZ2qmc2Pbz7Qik3dMqTf3R0RGG43fTmkhz29Wz3dxo0jjqfOhMQ1JHdmPIcLhoNUS7+j93rcb4+CRYxkSSS1dbfRKbVJ8LvqTS7J5s8mE5xnV2rgA5Tq/Ccxtod8jYgyHv+oqe9kAEE8kGQ77gT0uv3XU6qPsJ4CZifgkpquuF2nurhvtM2M6EiZFYIV22eyms7OXiZG30bTfIA0qhzezHMYyLt4vsLl5+7dUTXgokpECvwEeKOk3w+YLISHBwfs2j7RwecepiAU93xM37ptirW7gwOwXICfTOxdXMjHl9QrA49GdmnOub2HOf0HBc4sPiiD+sZ8hKEZtHMjP4wVDK0XyNreN90WRVADvIw4lMu17mkimWLoaUC3I3im/HYRv4JETm2CkdF9TinIbcpD7S2fQ1aqWotsrI+A9/kBXZ/kZ3cBtZ6GaKfSmwyR+k04v/3J+zTbBelprehIbnFUpdHY8J/NfDpltP24byu6/aNBpV2+MGGmaQuUqVnHLzgE0Jj+SQtXvrNGHASProDmPeNtdf22flKy0ueg+YtCOR/Y0KXOhbFOq7CgUYotZPxn+n0jLSYJgBd1R0NwSi9m4nMsKlDR7/BsNUMaesVo3YAVjDwJjLEhEelxLAIaVq5FNBwWX+bmBhlnEMwprlaL/y8T6RdFkD/Hu/i1729xM/zCmbPZRPzSNQx5W4aQLkje7ZP0v6YzLCafF4zPq3IJOAg185SfecUM6fQx5wE8pPikUL5BJkZQbxzL4foBkAluIAMvd/mVRmCRc6Ri+s2YZxctamHSed9HXIQFaQIVbNI7lB01akgzVe10FU11U599EoDmhsGjGp4QiIbGqg4VLtGrPYX7eFzdIOIYR5ozND9Q/CSowc6Y2/CIa6i8xQA9ccZtC3PHIs09oRtPACiQeaX8gUauoNxL16W1O70YUq1Tm/BiFG1pQV6VCSBv4gkWZI0DaOXfC+KP4wGmVuh1aJDIpTC0qjjD0vGXif+DnEB0b0mOtrafxL8QIudhc7UGAm7ntbdGGLBQ2IW4JT64M/6GFiALDQxtmFYVICYwaNBrCnwtD3e8cctjig3exgx3vkqoLcSfVqgjTrxmQxbuIv64w+/5E01D/0dpRDdU8ey+VjeUPfGiuNuAkphSZ9VCIt/7RogR26TQ9p/gl6odi/+v+/OEfBt86BK0dxYXC/NNeY6G8S2kNTkwXp7RYvJFHkwCp8bU9kUkB3OfpH+wc8cgqINqOSPT8SJv6gsXFk2zWe0eRLEq6oSyEbtbexKYqLqTUm5cuuRyPS6RZBANdtahVlxp6zHSa9f7Xt3J2WgakAfAgVo1bW+Zd4O12Y85Tmg6Gg6UpulY6xC9doeTbXjCVN0H+kP+vcGHNKEFlaEHjbTFYEOmRtE4QIyZQqLj0Br8EW22aP0nDIuSuM4bo0giG76A3bM6TULnIQzUwbMWi3l+RtO1eztW89Yu9SQ9PvzLrNexp2Prezb6n/MifqhCiFKeg/29+ee6Hha3qnFZb9/3UX4Ex8BwqLP3uQXQSn5aVXPUQfvwsPny9XBtVlgCJybLZFtfkh4RjuxvEIdUSHD5xQgvdaFBi/AfoRxpUmhlNJ1WiK5Z1hrHw4FAvPukj9PwxYbspAPypsaoA+EIB43KNv1dqvP2SPkIcq4y4uUzKwgQwCSJ9BT+NZoUNlxtRdMA5ocAzgg2NFrZQ4LhSTxwDHxoTdef+eLI9fbuQu47cjhlvyA7Lg5reU0qGi42IGJo45SvS8IQ6M01k2qD++bpchkr4vAIGaoPLMhUR57RCIMXXNsjfVfR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97305" y="1194845"/>
            <a:ext cx="8947801" cy="4824955"/>
          </a:xfrm>
          <a:prstGeom prst="rect">
            <a:avLst/>
          </a:prstGeom>
          <a:blipFill>
            <a:blip r:embed="rId3"/>
            <a:srcRect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itle 2"/>
          <p:cNvSpPr txBox="1">
            <a:spLocks/>
          </p:cNvSpPr>
          <p:nvPr/>
        </p:nvSpPr>
        <p:spPr>
          <a:xfrm>
            <a:off x="381000" y="2194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 smtClean="0"/>
              <a:t>Current Debt Portfolio (cont.)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984993"/>
              </p:ext>
            </p:extLst>
          </p:nvPr>
        </p:nvGraphicFramePr>
        <p:xfrm>
          <a:off x="6671128" y="2185445"/>
          <a:ext cx="1516743" cy="453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53586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BTA</a:t>
                      </a:r>
                      <a:r>
                        <a:rPr lang="en-US" sz="1200" b="0" baseline="0" dirty="0" smtClean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redit</a:t>
                      </a:r>
                      <a:endParaRPr lang="en-US" sz="1200" b="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b"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6553200" y="2342397"/>
            <a:ext cx="1752600" cy="1447800"/>
          </a:xfrm>
          <a:prstGeom prst="rect">
            <a:avLst/>
          </a:prstGeom>
          <a:noFill/>
          <a:ln w="15875" cap="flat" algn="ctr">
            <a:solidFill>
              <a:srgbClr val="0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646177"/>
              </p:ext>
            </p:extLst>
          </p:nvPr>
        </p:nvGraphicFramePr>
        <p:xfrm>
          <a:off x="990600" y="1066800"/>
          <a:ext cx="7162800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6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utstanding Principal* ($ millions)</a:t>
                      </a:r>
                      <a:endParaRPr lang="en-US" sz="1600" b="0" dirty="0">
                        <a:solidFill>
                          <a:srgbClr val="00000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57200" y="5680502"/>
            <a:ext cx="58674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*Balances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are as of the beginning of period.</a:t>
            </a:r>
          </a:p>
          <a:p>
            <a:pPr marL="342900" indent="-342900"/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Includes 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TIFIA/RRIF loans and </a:t>
            </a:r>
            <a:r>
              <a:rPr lang="en-US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approximately $500M of new issues in both FY19 and FY21.</a:t>
            </a:r>
            <a:endParaRPr lang="en-US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4654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228600"/>
            <a:ext cx="7919314" cy="466344"/>
          </a:xfrm>
        </p:spPr>
        <p:txBody>
          <a:bodyPr/>
          <a:lstStyle/>
          <a:p>
            <a:r>
              <a:rPr lang="en-US" dirty="0" smtClean="0"/>
              <a:t>Short-term interest rates are trending higher in 2018</a:t>
            </a:r>
            <a:endParaRPr lang="en-US" dirty="0"/>
          </a:p>
        </p:txBody>
      </p:sp>
      <p:sp>
        <p:nvSpPr>
          <p:cNvPr id="10" name="Footnote (L)"/>
          <p:cNvSpPr txBox="1">
            <a:spLocks noChangeArrowheads="1"/>
          </p:cNvSpPr>
          <p:nvPr/>
        </p:nvSpPr>
        <p:spPr bwMode="auto">
          <a:xfrm>
            <a:off x="841063" y="5335770"/>
            <a:ext cx="7589519" cy="107722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82600" indent="-25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65200" indent="-50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449388" indent="-777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931988" indent="-1031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228600" indent="-228600"/>
            <a:r>
              <a:rPr lang="en-US" sz="700" i="1" dirty="0" smtClean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1" name="Topic Heading"/>
          <p:cNvSpPr txBox="1">
            <a:spLocks noChangeArrowheads="1"/>
          </p:cNvSpPr>
          <p:nvPr/>
        </p:nvSpPr>
        <p:spPr bwMode="auto">
          <a:xfrm>
            <a:off x="505782" y="1143000"/>
            <a:ext cx="8153400" cy="297517"/>
          </a:xfrm>
          <a:prstGeom prst="rect">
            <a:avLst/>
          </a:prstGeom>
          <a:solidFill>
            <a:srgbClr val="002060"/>
          </a:solidFill>
          <a:ln w="12700">
            <a:noFill/>
            <a:prstDash val="dash"/>
            <a:miter lim="800000"/>
            <a:headEnd/>
            <a:tailEnd/>
          </a:ln>
          <a:effectLst/>
        </p:spPr>
        <p:txBody>
          <a:bodyPr wrap="square" lIns="0" tIns="5080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82600" indent="-25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65200" indent="-50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449388" indent="-777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931988" indent="-10318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en-US" sz="1600" b="1" dirty="0" smtClean="0">
                <a:solidFill>
                  <a:schemeClr val="bg1"/>
                </a:solidFill>
                <a:ea typeface="ＭＳ Ｐゴシック"/>
                <a:cs typeface="Calibri" pitchFamily="34" charset="0"/>
              </a:rPr>
              <a:t>SIFMA and </a:t>
            </a:r>
            <a:r>
              <a:rPr lang="en-US" sz="1600" b="1" dirty="0">
                <a:solidFill>
                  <a:schemeClr val="bg1"/>
                </a:solidFill>
                <a:ea typeface="ＭＳ Ｐゴシック"/>
                <a:cs typeface="Calibri" pitchFamily="34" charset="0"/>
              </a:rPr>
              <a:t>3</a:t>
            </a:r>
            <a:r>
              <a:rPr lang="en-US" sz="1600" b="1" dirty="0" smtClean="0">
                <a:solidFill>
                  <a:schemeClr val="bg1"/>
                </a:solidFill>
                <a:ea typeface="ＭＳ Ｐゴシック"/>
                <a:cs typeface="Calibri" pitchFamily="34" charset="0"/>
              </a:rPr>
              <a:t> Month LIBOR Since January 1, 2018</a:t>
            </a:r>
            <a:endParaRPr lang="en-US" sz="1600" b="1" dirty="0">
              <a:solidFill>
                <a:schemeClr val="bg1"/>
              </a:solidFill>
              <a:ea typeface="ＭＳ Ｐゴシック"/>
              <a:cs typeface="Calibri" pitchFamily="34" charset="0"/>
            </a:endParaRPr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vr7nGifzreodZgOlVUrOPDyJNCThuF47F+xU6bOAqd5NVjITXHa1b3mlf1KPgiO78JhKMBGbko1Uiq36QDZ6L43tDoKxOcvOpipLevVFpDqpFifIQnBResJR2nE3QTNcDrduvVQmmR7smr66P1Z0waEnS7aATP+1CL08icF1eWQnZUI0GzNCu3cVgn+rs5ZvseTLptjPjWZqKTBKjKG1a+FJSF5iPvxTKO3DO0jU13cy9WETlSRNcp702GipjpVUQ5F6EP81zvna+Lp/KOadZYLDNNd4FS3VQKmeVWJX8pPleQvNmP99+steK/IMmoMm4FC23WBH06OORR0N5sMPCtSiOVFO/vZ0N3i5OleiVJc9kW+pWDNm4qwjKmaskGk8LP9/zmaq3JofsVnVMtbqkuBS/kiFB+ZeQati50Cpw3VRwIC169GinxQzEVBlAGdqmv67THFKzMUBEtytBpaZuR+3wVyOb2T23KcvYJhGNeRONACexhzLz7nGaE9vPeeF5IOVfulyiHDZI0xs2mZbqRTXFPYLcfnApLugjtvTLhYKndXMhP1iVMTXZOTuseDYgVvnmKlFx4skRNxLL/cZpnALzvQItV3JKagEzXhIm5uF98/MK6lxeAeX3x8QWHD2dwbEMM51gOIaYGv8mNwCszvabKSao2Sm9fousDe67rRYi/SRk24SXjhI99UeWROayjC3fliVW4uoKGOVkZHSb0q/B81iu3cxdVbJYDTS4EL7XpITEdzFbKafF4fZajP437U0eIr4x6ATGickIQfHngpQ1ogm0B3y8pOX1K6sSI8vDKd1E3TwdKGZAOc4I0j25drolMrxZ2Q2UN8P8iDZdJlczVefasxO4XeQwLZi6gPTvLOPfewvjoLILnKT8q0iATS5/gJ/cBKSV2vUWz1cs1YDiaCiz9K1EJJONoKYhU6g4mS78sqtkJQ+23uc9xCA7W3MEU3rdC4+s898ZonnwOZNvfSw09mDMsvfGytOxXOaRwJ10A+uaOr0b4Q9IP0JU6jNKWSPsjOLL2FcKzd8o5ldvyEb2H2ukri7JgslNLDjDnjWacsE8jEvpRTCFK4WMPrnb5bYpQq2wcYq+Y/vBq3sGZ8JMpMX4wf0e2N431neAjbLKdpcQzPP7YK5DA/NQLcdkkZ8CJ5fdaaq588hvtKvAK1inYgxj7ZXWNfmPkbXHom9BSR2Xx/X/zODZD7Krb7ubcdsOypfg2c8oQysb67TGu0hpz9CE4Ix6Gn1YbodKyKfqXk1wkl91Apwi2QdjBY5b2757JL3wHtyyxSql6iiAPQ2UXe3GhuvpXXe8GgQMEzuwWP+TrbpPZ/t7TDLAqurDHP7n040Csxx1JjUh+OLD6JtqEU7+0D9TRCDEEJh9bjfsLzlYvQmVwYKTqTcAjmcffzuQZBmgohYNOwc9Lm3wEqtH+HcCZArSWDRK0pyqIDecCGFuQ7w0ZiHHdggRLqUOtuhPYJAWW9o2WDbU9e+ULK7JG0CtSUYGIKYCbAXKiYCyLzCTADAV+NlDvz7qZhpaaNninWCFwFzVoziOcAp0t1xPV7XhzxLq8/L85knGkwiGe75J/Gk8LU7Hkj9HdueIauy0jKKdSB98XN0X7fprheg//haeuwlbjw0fFWE5FpHahOZLPPpJtTVWOqT1ypb+Q/R6CZaJUuX6B2Nh63amQTBvgUSFV5GNEitMP2cSB2US70ExaYPy498BDC0G6wqBr5v7RiWVficcXTzBA+8nk3495X9Ru/s7a41BvqfhlcaajjHkLFKkQvi9ltuAtgSjhyOg2XzcbyE3kVTqJq/I0yePwWfg6YBrZ7hen0aahX/Ar5yJ6QqopNhddsClc2UpiQQYJCIoBo7eQXOB9bKhrv0UuGuZNd0FVgY6mRdV9uwXUvQKYalykRO2Hts1t5OWSqySay26zw5wFkxGIROv/2mwZ5ynbT8cQ7jAbb9LqPw2tr0XB65S72GB6CArgo8dkeA+427CoxlphYGAhQ2M+s2efQGZvUXn7gtUt8dYO6VZElPU0xkR4+W3CpbyjBsaQJMwfCpdKX6hkJcsZVPp9BL0U8S/GQHVIDRVM16Bw+1brmLjieJ3JQxG5WA8T/Yy/JClZvux9c0YZJ4m3hmc6PHIpjYnaG340CrOSO9LeZ+n+7EEz6aJMRQefmbp2raaCUTLkfZ6dHyMvidkYeh89xzPjwM5hA9u4O5O5xkgK4QLfCKdbl0bcU5Jmak9WYowJr73PEtrWJgkWkcKFVphOwbktStNJC8dDEl81hD0NNMfwbwR6JmZ3IR90Hu+rX/Se3iB9A4sbrLOKYx82ArNMLq2TeTLDtMKF5/uiUWGQZE/A5P2hotYm/NAruBNLCtxG44cEsPp0fwV1uh2a1LBv8JUhLV53jUgsmC/2yxFAeR8PMB+SrsBf3AY71txbzCeiYLaix80W31pjndPY/ewZjnpG808DYxcGDrKuW+jwfCvTMknk+mgGxGheLrknkLADOgvx0SPQAlcgyF9Q+YHohjYPka21rRURcK9kX3my975f97DLhasHhZKPrK/neIlMm1iZzVWGbkVl5sEFg3+AbhxK89RLsfOeWfmaSUAB4KVK9ma3q4gmRjkDOdWWVyuAIm6r7u8VDpSFFVKyMdTF8FZhqK9APe7NUEn9uji+aPWCcMY9uzLILGTH9cgDMdlfOJ6BjXYu2LYBgs5/uIRJOUEQKZa3gLFvZeXsTYGUv67UL8pUxNOfGCoAVIgOXS+uPD3s1y5IfW9xZlfGOYYeQ92HD0tiwC9r6tyVZ1SfD4734TLdaR8dqv2ScTbGIuUQa6WXlTkH9Kk9fCUpyKA8vHdsoOTYroIbhrKSqamQhGEa8w/Tdj285iRwEkxx9apXLWtdW4GRqvueVf0WBV2q7m8zYI0+5Fjbcq+KbYcsj+dFm4Ym2GmCeVTejspCmeXOZ6CBJXnVlxpuFOe5crhnS+ieQkVIwj4RJ+zby4xKxfUFPkV0vhMGBT/wQ3Xc8lWvcWGOwWMshhNh2lyIfEfRyDPbPQy0OVp4ERRsR0FUlsQIrd0tv0jfS66Aqe+O0hADWa8T9pKXAF4RLO1L8LzoVGTaEaDif4svmISylXVS0UnuvjMvE2p3LsjjaVqeNQAq6b+gtyoDP1MbrVgQbIHByd2ei1Tv81sRPhb9+NI20PDI7h9M/V7nRgkmbLL75xMzbQ+gyHZtipR0o2AViiUPNUKcaJGj9wc5i8P5kiOeBKPvU2PrKEQaGr/qvNYZXGOGxX63WLDxxXlo2DZsNstbABiF8bu071n8PLTE/WLcE4JkC4e5nnoH6jx30HeX2i7+zh2wG5eKJENdSV+EMNmbmcAxAr/V69a00HEaxI32t5WcSmo37qcTbdqhYk15mwULlP1mX2hZhDKXSrQ8ClgnHyRqUlJ6zjfdvuDTBW7YzV+hpPPgcH2ttmgiMmXjp0ZcX4fCUie90H6Kx149G/iSBxB3PzN1VQI9lWDAo/P+XyriEzQkXVhNGX7q3krU1ZU4ZMbcDGIrzytWt4onf53s5IaA54PZ7Ecdt4PxHlu1Yw6O7i/I5oEHz+QpwnuWlKgTEa0jcTe/lDiwrCf9vTGJ8EwMdZzqt/cI7mqXnEoP41sUlgHofoTy8vwESavohH/ijAcHOzubEyXfqjKR4ya7s2CRouyT1LlnBD8CiUfZgrqswrr3/29A4d/GKB0rzlnPWScW8/csM2+SNjSX1/CS1m0dAnyxRF1cFQD/JMZ5Vz9aqzwNGs9D3HeTUfoXp5p8gtDwylJ62EdOBI2EKZCqSNMkT5DYkMMcHgUmjjzz5PoGWLNRplWtbYHliwSaBRk4Y0Iile1CZ0Jj5jU8KyH52IhjfqbJUS1xvVvAX6NxQET5g9wcz5MZgHzaPSn+iLHgOMTYA0HGp+0fqN83xrmGv/zpzsjuWJgxC8SoUhlo/ugGohKRwQEk1IEZlSToQLnH+9XwtSElH1zhgid2iO0/jbLWl1w2N0TRg5XnM3Zg62FDm5T/AzS92NiutBoL9Kd4tDmjPGn0T5MkOOlwGjBRb5mKvL8Z8tFRNvRzZ1fBKkpFLDif/PDs/TD/+sVyxYS5mNe+254K6L8YkjivTJ9xShhqIoM17VZbBm4hFRqcK0g7rgcSc0cCuzw0cTptP8bxSeJ0Vm84hK6jScmgi/n4ZUt8pnkuGWvBaeWTs67ynkOYQdu1GLsb7IJASy5OI0mIxZN5CWFjgT8c2duZmkEeynEYHTTh3e8cCo63IfT6klCnPGo4cjzANlV7XPeXxzO43nMtuXpw623rrEXKvhHAFZKH2AUpg+NwYpFv+EE12iBQMr2b4vTkaGkt4qGn28pRoIDiaEgtiPrAxX02FLolLZf1PcT40DztLlhOj+LONLiOMISeaa6jY3iZvuF7wnAH3KUgTpNpHwvwnQeF0U6UdBWuNqqMNal5r3w8xGLoyFMdkjR5UrLxYGX2Pi5y8+0VGtshJzZRhbtLfI+Gk5ZaRLd9+4PYztOVp2r/mzl5JH48iuMy8zcDB7ONcFg4EBjrW0D9ZqxmM9MNWFTqydqaPy6UvD9cl5lcc7UZ2VzJzZcy56K8tGuRxGhvuIqZ+i4ft4ikOx+jcZ0bxjPvXlBjruaWacILD5SyxvCPUxOyU2L0FxXb1gFzXY2Xo6rpSTvZk+nI4zIRkVts0Rs6Tfi0qrILi1TgGumkJQ944BQz7gUDnPO6T8xQGokVP7Atfs72qraPHWLjagVGg0aPv8Xkaq3UEw7FySWBWFTu8J9PAnpqe/dkJ+PEXJN5Nhx7HD7QM4vRXF4RqQqcS58E0nNhMJerX4A6FXjv6E2Zr4A33PZaRhfTrDHUiwNp+Uqat6I9bwO64sP5QO101OPj15YTRTIj/MCsnjGtCTvO7iDjwRgiF+jooK5R6e+O6bC4NLSmHd8YQPqWcvYPrGsHzvlGDk8O7yhbMnCZ8byagfwjmZ1685lN7sVuaOajhRwiYvZ1jLZqUKMCEEZhCews67R6AmAWM3lTfXpsWT3szaQS5TrLhumJpiVjithDP9qCKIW4VcgTHqTMJhGr8JA3eX3Qe8suSpBt+bfKvbyPtv1Ciq8gyLChilHoq9PruY9oKuQN6lQBJWopyWsSd8oRrer0xZg8VPQ7kqOTNR0ZoIrnmPTjdgIn/2eWApGcdf5Tf5iha0GmO60eOKcNuVjj0YTiUjm7QBt0XCn0g/K/vHeSqASAhrcASQvifCEFBRlg5AwaFf91WrcOg8r5I/+0T7xMD9znxJOC9o/neuC55pKHyduE2IG6XRbDDvPfhkXp0jiLIc4gxJHaI4GaAYlPmM6nWMv6n7GCL1xIPVBGZyCqMT0IR0weKntLlnBVFFLVUXI6km7f1oQ7xD3+vr78qW+UIw9xWUNWcCAzazhFdC7QhYdrFpJEOOU124HYX/FyavmfPGZdtaolh4dldsl4qJSUJXuVgJC8fy6VnY2uNZLTN119BKDqunu7ohTFDI4kaC/xjJmfuCKU1Ms1h4yPsjdJlqK2AJMjyOUygi9xpO0QfrYPBtKJcUnq+5KO6GhPfMGw/WhvirAO8XCeGS5w7JBkThJT+yG0Rv8C42VNBWx/urNZgcJPgF3acd9Zm1AjuUgqGyvgm/l0VbBCsREEwg8xaki981EJXzEUBrWsrW+GJ4aT8xhaq8ysiAD+n2g8zmeTK22viE+0G3iSjPW7iTrWhfqCoirUULRa3t+nd9O6uvmzDfQm/Du9TIjNwcVPhKOGEbD+vdLQPgETMEncmzTP+6uFJAsakGxqrj8I3yzweg3GqKbyzg0dw4x2FhqK8zRmgsC31Mrf4NbY+gfxwNoYcojHG2NtRuKS+g52gFpx4LSIkxagDwg9Gwknp+HrbaU9E1ygUUaUdGKeTgii5gGxXVlsTpu1LMHUKwOKb4El8olkhca73o4J41QLXFJo//Stvoc7yHkAIMfhDQnCfO6TTFA2eswN3CmrWvGiW9gb5PJr+ahkaweoxb5buCU3qEbB3xUk8xobWKN9qVnGWMN9TZbf4xOV8BN8O1ZDuw+01C5t0o37efdQMMzy2DeX1+pSlvWKLon0o5NoAkIGvkbwW8kbnjkHuBMJlR/vaMhWyRZiC6CVWszFoL1ZA4CEKz/OvbVklC2R+Kv5IOL3MoIMTTYxs6V+lL9Tprl3Kl5lv2chD5rvJ3Xv/O3010kbzVj/JC9bsYJs6iFzjCpFJl9PuDiPxiuzmLNYQ0t2ico7TPbolQKDVrwq0eI8QijUZUZPIAXqDY/ueDcU6wq8RkC5ZDwrJ6ZADcvGV2Z5WUsEQeo7gcdAXHN3Bg7cROw3yfwPmkI8Fy1WoyMFFUlXhNxapISb6jUsi800lsDm5ohxJluH79EBHa9SuBgYjtZxy8YnOwvOyMi+zByJFE7mF4lSr81BGV4uh/EdsPfi09GS3dDlEoKKgGkvsnmfjAqsPY6TS6V19CQ4OjyT9i+O3srPVW/mA2MwNXCmK7bbDCaQQdHYCmo32hOsn+lJb1ZfXU9Lh4avbbRxB2j/JCvrgP2NFnv52c03vyHag+d9rQV4xCZmVYDnVGkiAjc1ARJQajBSEJIEIf1XFIH0BwqZDoouFDl0rLmf7gegkmrIU3/dSCCNNEX2V+kCwfhgK89/a5BKG5WTJiZ6E5vuhALglf9PKydw1MbmqVpLTri1nGgDFAhNqDUmU0nXtfPI2IExJxjvT0HltUGXMpx8gUepAF6BJus0Cvv5DqxsHR/28HOEQsZSmhTFQvFGB9pBWQweBpd2zX1/clXt3YBkg+dJngZtw7R1Plscn+l3BwRMp67JLCLsLUO0+680GwNOmHr9A5TD/28GTyPlZVjkzZagSxq6LwIAMlO9RpTh4se1J8JuaX313JiNzbwT6CZ1d+ThjccUMjLYurCMeUt0ReekHuhbP0OriCvdKgaiIhOmcUc2HaPQmJpZlvjISzt26BXcUQJVKaU6BoZZCwJD3glSsaASAfmAepaglkrZupHBkZvI00/R/1YPR1+/T84mPfst7qMUWY/RDJyL8ugbuwfEQzwsDHQpP7tuDoEW/gdDRQFRATC8Ze/2svjwd7EwZZXIYs7sYYjBIAUdiIN4Yh6SdknnHk+9T0EcxWToQ7Cuwp1jIhiPGUjeVPYCV7Sl3HVGIjF6nbUWbapRGXQPbVZDR3kFVMDE1RQURsVH4E9s7nQAkeJGzeHfatE5kaTRxp71m6Ov8+rcllDzD8KzHOc3LwO8kxPxNVxC1UBbTZPTDW4qbzq5q6c+mMcvsZB/KW+Rq6pFRtD0x1eSTCekqlyH7pAsRB1qtqFRTSEuyVMLdMkdqJ8b6n+23QNs8nd+iBSv9QQktf5Ef/+Sp7bTI+M3nfgczypeP5mNBFw3jay9WcGhWnjV6+ZWaZIl1gdBGRXS/7DT0SAS9SL0UAJX4dH+2ij92PRdQEYRzowkRbqXFkqvdQOrwSlWRw1pB3KsasRpAW3IFE0XRFDgUvLNW+N4wxgB/a2nVyA6JIQZEYTaIzNczm671R9gSgEt3WlOooEPKYaDrgTgRVK9pjxJcCE3gH6lQDfNhPX9PTSzMRnMUVwyOM5URXbCiXhj2yzUSUiwmV6OyI+9w1pLTYk0P//iZUoR/9+/zrhxIdejEcuiYWEVEYNlCj3oxSIfeuTmkMVA0ycgrdaokIgpzjtkOckQdA2pnESGhkLBD1iQzMfeseKeKw3NgZuDEjFpgO//wvQJtW+w9C5M+lg449YFZBkU6iSMQEeoWxiSsDruyeNGiHw+2c+gevLLdXh/BRTOQCO7LiCzjMAUXYS3szboT9QwXoKx+ocUEtr2SSRgTD6kTigLsliEhR7NH0uyHhVZVCCdnteZYGcE/MnXFuadNRWq7P9xfQ5hoVDI9y7GNFiHhQdLjQoU/UwgrTK+IY907+s4uAMdAeadt3OMS7wL1bixBZ1CP67QU6N3lUqxy4gMPxBWrBB8lZDyH/Pf32WvRTUpOhvUpl/zZEeZydfiHT0Jo4twcXrQsJe6+WPiel0H+nJE4xoVLIaM2ysj2V68+dePWY6cd4oWooIKEXcrFkURD7RpfoEBL3k3siqL8EZAVGCy98dsw8a6eqtDwoiEXlxjGQRiUkr21uzLanvFRNB1OqiGHceu8N5oKTX9f5bn4BamBTZxJJc/AZsH9ygjudSNFOsFZsTFrG/gyXQO/4nehc0PhXyh2QBR/7uo09/SCjqLWZHKVxlWG+xtgj/DxSnEm+J30SYL6kvlmCMDG+84f+6Vv+YlAfdyBUI0kce0kbJViWFl4LvTyy8IFOuV66c55ZgFLjJUZngtGvlLEOJLUhZYnOEIv+QsVeWAbaxF0tgKVDfdb/MuJAZ2uRjSzh/29wy9CRNaPaO3NPgYSVyyEWl4WB4mqAOuEk2UB2Wop4f0ONJpummY04ySFw/RnEEwF9OYI5M8SzBOtc8+c3AdXBRyG2HPmGyiRBAIoaWjyRI+cXokSQ63mefB2SK9lWEW/acpidcnWLQ6Bxr3xzdXJaJZfXYOPp8DD5nIDvuu4llFQHXZNGmcJrNpHsacs0UAnGLxCOe5U5j+eIJWw2t1AYjdPldnz/Cf47lutF/yJWX+3/0PAvDBfb0z9DjVdx7bfIZ41dw9hX49ZC8UYpLrggyMXXTQep/OLIKfX71so33ibPMT+W6ttrzJnI5WGkRa9qVVH2ViLcbeAeEFgVpZ88JV4Dj20hDiaGd90rfpJNdu0aDgqrjBCrKJQbxRO5qeD2TavbPhbG4xf47o9pB8o1lCVRr1eDlAvyDXWucfBr8oHE+vdbxgA7Yut1r567xZUCWl8P7MQNrsCdrlNG/LUjQoiDud5Vhi68CR2v0j0pVUjYgd5lHAUns17nG1nktcWjb+8HxPX97WKsB+KbBYmXp3SwBWMgDNQX5t9m4qMdn1MLJ7qPLkV9uZByHJ1JtvDymTxd4E+k0/2Ue0Ce+1MaDOLd98hrGqduFtf6I+gB9nlWlxxS7R56e3gsiFAx8BF9UMjHoLrcRhZ39mSW55x1sXjWxgiYlVSJOJjpK/8NUbAjFdR+bgRqyEGp5r87F4wnELkgflQFxEtCxO2kcg2A/VuskiV8/nDpRzgfrTKtp0MTiHeQl+iAs9IG86cjk+z6MCMm8f63JE9GMhB4K3+5KZIvwsuZha0N6nmIZDx1ZKROVDS9jy2Xm1Q9GD32Z5TSnEQ0Kfdinqj9OedPhg+pJtLSmaWNQr1x5x988WgnlfOI9j9pc/Qq669tZ9pIq1ROG0alsu46oo2FOQDSNzRRHqc2kSyWnwoLd/vdUk2wmXy2CvklcWZs9YEHjqF8zqLgd1Ao/tttY7VKCxWgMPJv7jIDZDYKIuLx60TquP97YblzavJdGvFUZX7LeVoclq+Pb99Q2btqbW7SNQB2Rk8p+q1x46uNLThDjCcy1t56H+1bgq/5Lj7sdcJUAR6u7Q2Pg3FR/dtHRD/VXp+0Tj3NGodA/S8/CpA6ckwcDXldCvUYAzFZ3TM8PhGALx5X7ieUj6iHe5dhREuPjc6bjR6+2F0xUGiA8gCU6QynTTk0W+D3z58yynoYwL8U11xgc3Mdp8awcHw+yl4q/HaZxkcq7Hh2i48W2bokiGV4ItUAmlsaBntxUcLZB+bNApkqf0DL4fC7yxTXQlCiTM7yy/c9DTlnu/wkrjMxoPA78XgUcP4Ucz775MQj9TmSxJlwSDjfB15B3PyRgVND8iH9RZlwXTjFjdXiPyF+cWWSGbPmCSPFL481ajxZGalNO/r6SAWsCJB+TaEvZ0A4mAtI8YjTeQ43gbjXIHsZQkNC6eYiUGBWLZ/LANy0gxUH7nlWXU3i9fOxjIV/dKi6erEbzT0xlaef/N0pdDk3zVHhwqqAG0LdDab/4KjmkaNW2cHVaTfmGR5szmwNOiGerRDUUvG4C6LBLgbvnep3jJy8DrmGODhAzwdNuH2ibAhKoq2oZnUu9Xa4FJYiVHZCnawbf7OZfofAdoo5AUNTYYV6zMPXeiy6Xlgn4gnVl0pXe8BEAkHrYRAsfxR+dMeEU+7/YnAyXYIGg7PTdXUN1LfFr7aBuVf7QeXv6y/WkE+nHJ0elsEDVrlX/n6LZADIw1i1dyP5o7I65kK7ZJRSFHPNegQGUk4y+f2IIwmAHcpUG/KQsqgBKT9KyU0+iA/1oQk50I1PuuXwh+y437ig6dx9Ea70dc8LO8x3FFc0cO8/+JqyK1bEfWHECoIWBtakYyxyN8Qg9u8Mu/MjupvlNDe5F0CYqiMyBZxY6wszC2S62RtomhzNMJzIUC151Hj8WuItlhKuQ9B0/1FPlylYEHgvUL1xYfdVBMaYWNV4yvpQKP1jDOk4SF7IwUP4S7CHKUTjyPJXvUrHA6sIxCEcsjy1OBv5RCG99sIfCWzkkPWRmrZZAn60XnxSuct0k7tIMfgJHNakiGVhTRqTyClSle+oljxbMuydy0ZK4lp+Q6MmJ6j46Z95Ya6z9NTIYMfE2//FXquFNWvOvAavuZx7bF1L6qbOAoYahxkzVfhsHLgTAdFKE/XJ15wtG7nIkJio27S0iBGU9MR33yWnjbow2XXvuDpv0fdCwvR6Ml/ioSUh0Ire3xv4oIJShJXdW7nYHQChZewRinXvvH0JgIbDLoFltkf9FzMCuOwRZjqOl9Afn9C9odj604rsHF5+6rSVeE0gLt0OSWomV1zfC5UbFauv+Co4LqXwf36CYg+GmlevWIT4T9nmusfRyVTjetH8Z8FRPvRbCsDlXcOQ6Ngo/lMvMYD53apXS0jE1uo8uwRTr1mPBSIctYnGWhi2bdE3CSA1jKeThQOSMBBcSWxj4oXYM4OegQHerWT68EJLYlh97FPnonSMHOm51x4ECV/Ux1Kzi/CVHBm8mpekt0z15m7Y4gZcTBBgzHlHIu7MSpvbLjg6BDXeGxYwiNSYHctIU7c/tMWnNzScjmxSy0+HBA1UxZYw+DPeLzER8qhTWLkOvc8L1D5NtH5nVz/uV1HIWvkL7RqSqDJkUINHmM+PDtK62tG8IpALxyT7UryxFENiDe5K6z9ARWd2dMFWaUdwPUBGSTHAPE4IHSo6upDc78mbFlfb9MzTDBzTrnt107Whx+EiG84Eq27OcZLZuYp/3W3VmKskj8mbDa1kBs8DhLEt3zK/E0x5wg67lxFE1WLs5hlnQbZKInUrG/L41W4YQSeYCPbfRDOro5EygXaekLqpLSBzK8zJWbxtffZIL1Qz6CuJ5PQ3/hC52BY7Xr93E8gQCeNvyxn2bUm7X9J7rxeOvpaVZ8YEHXAZFUnHWTXXmIl+H/7eO+E5tK1joiZvymr9oN/GUdYA1LLbMmD8hURrNtrflg6hb7Mj8e3KZY/1jWjYgphgezg6kVEzIVDAwXA/TlFCkkxhfVKWHt2dDHsjEq9r6W9d2cuQI84ZdFMktYExkl/v1DQ1S/VPY+0+b6FCWWS2yW0QHTtCsRvYcH/yBPk0r+MdVtIWjlFeZHWPb2FcfmB/EoeT1fkv3iaycCIr7vJ2JlSN/k8fO+Bv3tnzOzKQu+rVAQD+9/5mXKdvDcZZAtQWEsU3gAmmNeCZ1DmxKXSNYY4jkIjQexkcnwBiQRwYH9fUzOvnpUF2O3v3DT7c0EnWAmWIlTaNDlacaxRUbIvZJlhI9Aov3xJt2u/qr4WdSs2iJnIwgAK+fR2NCiqVyJqOB5O5ILy5EuKEx5WjouBX/TkOctxo2T3qDT1hIvQ1SzTfPcTVnyRjmLQNy2Gy0/GZzjRCWef7byjvTC/ZasVWqrGEvfZd/NHDNFRnPAKQivXXJmq8s9C0Um/6DAyFbVd9ehkOtIHuQrc0uJMkwe2xJlQYy9jL3Lo6FTIt9VFCpxXpsJXCSY/0m4kBKDHWQtreWdBDPAy6/iZXAxA8sx2KjAHYD9qo0ja4TFg8E32KITBd99J1N/sQulRA6gJZ08h3y8CfxlzQY6HAg6Qk/LBlYG0lOTbmhGY3/9F6dO71lsjozaLI6Bl4yXZC5S4YoaXDfh48hUBDaXIzLbgVM/KsRai2TEqE5MlYUPeB7UR12+zjGonjOrqXepXz5Uj9JUyoNyixGKLnMB14hNXJWnnwLoMx/3ou++/KfHeu6dI2AHlCHibEcwySaGGWi7ZbhAG0jc1ID/8QNrZjk7NCXT0Zz1pdHrt85iVgadPGAsUozxn//qPUgqV9aJPuuCnmazZBTi4Vv1jY1ajj/dIaW3g3xmlMHPdSenxdzVGe322G+49+YpnM5Syfxo2GXsaEIphTlhXbJZ6R8jDka3CpvNNR8/4CGi9FLed8Y/gLvri1Fhiq+NIw2lBpNfe7Yv8R3NK4qwITChsTG9K8J1EuOlj7WZx4sPdL9rygsZu3STJJnnGIJMTh/rTnHmA3T5x4MniTC4uBcJb1Pfj8cpjtcZ5wQS9R3gOhol1aYvJOTBu06RefE2CZHRaTJw2fQtp/oGcH3Q74HMMBO5VL6O7FnNjJgkDm7Rmad7acRH/tSNpn5omvp2eE6mxzZMfXyduXra44xUSkzG09po2W8GEtM/TD2djVq8eCEYrquyr4yRJl3lPh40mt/gIvz5ZZaaewSZMm3oCCYhk1CCsU0QbDlyDZHVDUb0ob4lqQNTjMdcBIBH8o4NY4Is34EljsAUFVSY7cuuWAlyPdMuZ5vsDYkzGvPDdiIf5K70SodDRjBPzGQRbTAJenZzjQJUoDeLKsgyEfYAlfTBys8A603GnJ1tUdlbfckX2wU5uZ2flLn2I/7gnlbTuxqq0R9iep2v/94BtyEo8mn9RBkafqDCLkDcJHi3itjDD+8Sy/EpLie6FusBEyvfEAecu6vSeogFeiqcXr21fvYECNHK711nm5HmNFIbL+TeLQVdFX+P4cJ1pItE7FChor3M84VdoxPXQ6dkfQQpVly2eg0lM0Xj494WYP1c0JaU0/MCPvpXtStW46miWdf3WpSlQCAL9shLP6kwz5waqq2G6xiW0s3UdrDAZVSEBc8Pl/SvcneErWH6fQlufyg+Emqel1kvquaOXRVf378YMf6eoVenOUGvu/ljviyD97AVDEaSymJZGX+v+Kf+sWYRIJ/JreqUPqrw1IQwdHKyxkLVM2Qc8JHbDVhHUK5bNiKDyDFZN68wBJ2fzjgBlT6wN1S3PEFhWzDEakq44e4RgXA7dHLEi8EbPu+VNl6tvwforgaGNImSGMdr9e30xVC4g+Up8M9y5ErsrznoEnBgyIM5LBIL2CN+0C7vaVtp1X7Goi0YFWN3BCzTr30ea8kaC8Cu88NoqPRwPGQoG6v4q8lg3Mzh9Sg9Ue2zdihaz/NCdKKMBofRvM5WslCKo6scTJlwJcNRkNEkGLpZdXNM/UTUVmwcnDoIbe+vBPQnW+sAc9x9OPQElmASzhRcjkWJcRmkY2wWG2YjAcS6tbzjmn7uEOPtW5euPQUn7Nw2mjA4YzBGErk3lfV78mwXTIgSI8vCihxfSLS1p9fcTFy//avhG6o+dJW/JEUWln/7tbScBXw/Owz7H7TcgcbPAEdRjEnaVrbnM4Umepb0Ie27CcsDHNF2WcJQJpyRrlZe2IvX6OEbkPYH/oPSfnObR+h6bhtPI6JdnBKs1MmWM4ulfr0pS69BDeF4JlhdMF63cRn2A75CclP80kd10sH8aLXr0QGoqwlkjCsK2KXClIQPCuGBv3DL1sAGMGHT/xSn4UqaIVoN1PYCySuoNkuleQEkilNEkI/WRYO6h0YyrzL1xKFSh+karbF+pxi/A1acpBvaaRia8gX0b5wAlS6OGTFJJd2rE167gtA1Fe2sfwuYAmTzTzDYdOVy41NaNhFyOsspnMHyIsehx5WGhObmPbNNrXagCtKoRKRETQqeuP46n/cfrEiRu+hBJHcMd1/VUOw+WX/FRG/wafpDTm8ekFxjeyYIGQ7KwscYKQxiejul/KGxZCIVOeWDeOSccwC1hucBu1pWvO3+b4MJw6o+ggFU6dXoMkNEr9bkOlYBYH62ImL1tLI0nHsgCRpb3/0k0DGH17zJp8t6w59vOMjTTcaMlRAbSTydE2I6doVyRkFPPAouV35Y/PbbdlXd8Spix6pW9pMm+4EUKkyTYGCukjJrGMk+G/ikZWw17GyqfAgSHjF1lv9VWNwItAV0RIwbf7fFMB3Qzlso+/ct1L/0sZ8fwvQHNIeqSTA802RSLA5KdxPbkBj5Fv6gYOYxw1NjbX8dT0t+itJuSRKBw+51ZY05JJufCbV9FXX2Av9+xYcuq01sVo4Zeq8DxZOSUj3jslNEq/jrUB2xtmpxhSOe71Jlrxhwa5SVqiCXRTD+usLtx9Ma31orzQLIACABNxLfgKOppeV5Tloozo9fmz8lm7F/IP2Ca+XrzFCZpXjAeuJJYRUyWpYM/xNjrDtChtOX8gGnvaYsAq4IKot3qp2hu2FE11/wlSXwhabux3xh/tTUZtIIzQVrUioegPIv3PT1NL3cvLJX3ry0RShovFRL8gKfXWen3UDPw20hD+JIa4j/vQRuICmn/9uxzfWijaWKcd+9NODOAVYIPXVPPJRVnNP5uhUcKU8bZfDBrGMpiwd6eMm3USLz5RFKaxaWu24UT7JyDfnQxWcrlLgXb7efo6qr71o3KL2tAcHQMTVEe0c1l+DlpkYxNcxWUFHXImSVOVfYMruQDTPdK/jQIr9EbGVWBv1K/k2IcYKAfCik76DRKzVFD81PTv/UqhyM+GPGao5NkInghfA9h5GHakbtTqdvSDxKVX+V87Y5U14ZB8tqxW1wV1AQJz2i58Gy5F8/Ke92Hb7vYdoSJRInmuoTv5iKQ53dLqtt62S5J2ibOgNZbKYQJgg3N5eWxinZ4RdbXaPKvQFZk1UocU91ys0WCBR8n+nRZ7W3UeexkiuziWy9scd5fn2I1PFLfus9auawsKq84oRaTJ5PThKEcqQFiaMPhpP6K/LnHw7N453vL+TU/pRKRcxZ5hlRFMjDBEG9uJToauml79FPiN7v0sNC/Av8DbKdVK7nWLsj66FPyoTqfUVgNYUEcRtkXKMmn9hoUEZkI7Zc4vtLpKw2PSzI/KDpnhvKmJkMlAEvMH0+n+ooPnKS1j7YYP6CGJRYI5Usoc74r4q2Nd05Dj+TtXUUKjT7V1MAsKaQR7ktOGegM8yJx+qIueqQaGcoOzbJ/Ta4faduQ4SuYPqd+BBSTlMn578heLGcT2UbTanWXeowkHiFHz+77DcK8GPxdWJL/ZwIx52SaVCiIor0mUqPdDwcKJCrExPLe8+EVdB8mQrtYXr1ZUy0mDKsRXGNcGa44OO5KZXGNxJ8OdiKH0rloFclb1xZ/9Px55oVON8rF5qUes8GqcKSqjm7kTaMxoM6rpG+e3CzD9UzXFZWeQEVJmi0YfBjpoVSbpqIeCWaI+gwGCIfIU83S+Sa3NiBSCQJlvaoDyynKft6SbknA182sN8Dn1TF5YDiJZKwW0F1CWZBGR1RuUxm32LfqKhZLJtzB0krMaMZNiC+dsGacG71qJJiCoQ5p98wOhDRGNAQmR1+5esU/Q51fsN62KpqhJXjRkouK7FNT4D3pzHXRFnjQ6AMHoSsrbaLs+6AlIfA+Xg4H+7715CXgHtCslHhG5iI/IoUyn4eO09doxulnO59bl3GRV2okePhJdmQvCcl0xsJZb83sACuPAPl9J6IwHmwXBZrbNF8KP9TDGoqh6LuZJkXXjYSGADTTAJHetD2M2vT/sIr0IwRlnci+yH7XD/tWmqXGFebSIH6p2uHhXrO4hpxkavEdF4+op2LXw5wt5SosqqY5xMTsKoQFE03uC3IcAAEtsr0hMJJHfFcj7U7ChigTMsj+uxaHkiTjW//WPPtEN86r74ovoAsRErXwNqa+T2xc2X0F5i5Y17Zj1A31hMyG/GHFiYvQRh/QywDcyaT5mQj113x/P2jJ/9IMGup6LPyN8DYZXzW+Wo6Uoo3nOV9utUJ3iK4poaEWIY922O8N/9YtQ8xKh9h7WZorYlwzT8omSsBT6Ak5ROm7GoFePPrhnzKs5W79gfNUIe/LsnuGiBrUw2sl6mqdfv6dG2vFJa1RIxqjITjCE5GBIzEGvsgb0hAZdmt7Cy8kNv7jrWuXwsry9p/uGPhcujXYSw/P8FvbeZ5nStsKhQ1UwzlOQ3OEuPqn46uoI4Hu6XIF/KmDJcnu90yb05WYUEPzH8GBfFGghE3B9dzB7KQZ7EoYisWf3gWGz9Kpbvfb9IJoHD0BGvZfrKDC8iFMy13e38tf2D+5mXmcDVVzUvCQWWXOteWej1CyA9KSOTO0xvYb23L++oaJ2MILx6eADJ9pz1hY51jTEf7NUKoc4F5Ri7Y2rIRY/sg2WmtTrV1sN/R6njcdfqnQ0F/1mL6dMEvhu/svDXIE8UIcbcq/wYN2jyNzFEIG0+c3ZuKYT8cQBrubwzd6YcpONT5bNVu+1CMzMRg4zfE85z83QCSEu3GdcdCQXM0Uji3k5D7VEu4/pijGv72Q1D9pFXMhA5K8RSnJOBfY7S8tVWykcvmNdJzPYABgLffdMf4uPVEnZpcCrTf1zjiIUmWk1MlYwKEcE7XOu3skhop4ecinfyYWoc0twZREvlLVSMClsNNiOU434+l7iePcO2y7858ZjFvg2+kChujsc+cyLrrMkxzlQHFcFl/myDRQ1BpZigKSZE5666uHrHGVDp/nLFOSphUoDdHdu83H8/Q+uTkY/6VqNA7PoOy00Bjvj9Y8ygz7hK1gzIKXgrIhhl7WVyeQkmeEuxfbPuuLphywBQmkiDJLSb7NFzH3Oj6nqomINRqrurhds0BuN4JU+Upjcdigzb1U0sTTx1CxCci8Qjjrcu15v6o7//N2nWrUnpkbXX9CY7TGnbV04f4LYKPUQQvXhhHuBRCVTeyr1xSM5kYKPM0nME+npJzFRL7qzm0jUNPiSwDCmBkRnLRUPr/80jvut+/vg4a0Na+uKkrrRBWxWwvjNPPEkeumn9gg7/AdEyoBMwnO4PeM+kR/G/twNs4gPbXe4Fq/2o4zscVsXnVDlOaIVK9o2YBpyp+6amyYTDf3LccE5ohLzWX/SJkQCG25kZMPKmMKkISYK+1NJq3j7nhD4KV6HqqlPZo4NigcL9FxtoE6wX+mvhndqW8pXa/fmdwlmyeP8IVx86dMZzOq+jhPECjqkt47F0eo/Azq2ofGz0sTqG2KWS08H8VfzFSq8kOyvZRDEWI8hQ+WFQL33H2haMbofF1ssy5e1jH3iTc3RHjugUcyQhn4mWsEKjMm3Kv5gYX24cq1APELDxhB9dp974N+Vge4UDPMvFaAnFKdjc+g0OTgRn59uFiM8+srSmP30BPWOvtFu7tbCFUULBE8+fNaf9SCwiEqbOetWj107kuQCkJEDmt3dB4IMqiiVjTeQYHNcXMDmYl0Io55sDu/BF4kKKkdn1sa5NSFhARoO576HI3GEu7/neQNyztWCfdqqyZLgfKnwwXQqAzbScZt/ES/bWbttYquJxLwF/npKyVp68jfBjID6KmFjzOa9aW3dmLC4NHtoQlp1cQOcue43Ixk77RaBYh/EIVE5O0IVx99xnB0Kfe01ZP5imP1S5mGU0YUTUpwVmlcLdHZvmPz4NycDiAF2pFAGqIqkBd1m2cE1cdtMxVZZoT0wpnPhoIU0OK9NNwZVqcRzy7jiyXUYnoPzkI6SmMKOxnM1cqk2LVEC7VCiC+AGU9Fwh6EfZ6/sr8wL6weF98AqGyrp3PpbF4urcPRg1mUme7fnAjqZadlXHRTsgZ5aXWrm863AjKjHFE0zCZId+n8h8QCf7p0ANjKCsDQ6tUhgSFY0QFg6Xuq7cMFvlWx8RqiAYOeYYnH9IxSim3WA8Zls4UWeTWqMEqhAhGF/7YyS0S0Mx9rU6XjQ0Vdq18LLb3IROmwya96xv9f2pO0Urt1JlsLfrEVS23WFa1nXlsRrt0Eizh0P4aTcwPTIsA5AP9zSpEvJdNcXOzymFOFMriXVrRkFX1BJO+qqplLEL3iisNQp6g9CD/wj+E/w5ElfVEjUagSgaWlYiRrEJ6VxbHPylwlTvUbkl8QH51Gai96YYTe6FSWQmkMIwwfjgb5qGVhcD15p/M9EZ0/PqnrZfJEZVu8gycOc6949t/jNfT/fGPE3tGvnrDCDeStIEyDOxotXTh6Vvo+/ywFfynj/QecQuRxuUDHjpg/YhTjjnsh5aPPqywu+IHWTlitOFf/UGzGlbnmFRh1uzYrgoBv1HOA7ChDK6OiwGkqDd2EFxgmoBtb2UmucCQUIhb4FliybjnxAWY1CQhJ4GiR/iBMbyRxusNG1SzFI3ad1sVBS8zTwfoRSNxz0L1Z65faNrgGj1r/lV5QcrOVgrsvCOawdl13PkdaulxmmbrmeXEHASA76J6IGwNpCEN62NnzuEqcclEobTH//GPRBr+aTC6K3PsJ3GeoNJNWYbWijs/0NQkdbn1uvUNiAVGB8spMJwfLHPU3PHCq91s9pZjOHEnKussBvKw+V4gcRJeWdUU5pz7ua+Nip8+82aITBpf5PMb2w3nNn5OS4cDVsBAp6Hb9UQsDKZ24dj1PEhRD15XAZhdFfIjuQwZDXjiYwy8Dk1dAkP2MTh3yMpYZwiR+MqnVN9SsiDcp6aUhwIIT21AEDYKzJuSkhICeCzKaUqpICmvIGE9SqZhGsDm07X70BK7O5SwggJGeRFvqDv+8s+HOhZebPDa++Cg+WOxXmgcGtzWVUw1jeD13SLihOM4Gx6fIdObaYTt41YSkaQAiRmERP88VeYLYvcUvLmYJJ2yPZatvTg5zrZOJjm+RNqlb+LX0tW+Bd+OHttZPTJfjad8y9mKlkXSSFo03kCbIBhm6S36I3i1360z0X501yqtgdSnYIz4f006xSNv6kIU5ReZOwFu1kBvXjZX7WQew2sjYTkTYx2bwT4KGUFVTagziz5P7/vtdY9wfFJPRwe0yA59L4xxnzUfwH5IthIZpfaCIAytoCHqQY3I557MrXkg9UrIEPyomINco+q8HK25IguZ8BJ2RmwmqHDcLpvzoTjmyTcVk7WoWYpTEI1/Ryx1toASzlgjU7x0bLdx3LGwx2DBAHKLQ/h4w0TE5JeZ0jlK5xrHjfjcITd7YtyBHP7hjVqp57z2LAof1N8oSQTXdzLtH26YQAOSqSbdSagGAQYw8XrZqOU6q/af8yvlmMvR5RyVeKijps+nii4CWtBeR7fGpvoTLJXfbWLue/h1lDc7EpI17CJs4qAVAgmOlgJ5QL4ma0LZdBgukBXjzXwUDDLMukWfj2o83Tt8Q56vtr4eCR8CO2jLmodekqKTanJ0D59c7YGlS+YpBNqPx4RbeNcaT9F+aFoAptVcDQzImu8lbXcav4pgTjyvoOwaOgMmka0NQou5QTxTTzoJJc8fgE95RHUw2ZQocsuKSYCvxSph70urqsZkoZgK2E19333DcrNNpzX1QY784ubUCiYsEnOzhFZpuUGIM8LLfsYSSeWTEPuBjolGGn6A2cskBYbA8bccz8ydMRM6Wrc4UHmWTALVsZswl+oKX1z+szHFnKiCScoycPkI7k2eRMB+WyuilgRWPkHvJOUaxldMkbPfEhAtInUMWavmaUBqNCZkR0ub4HYOyHZH1ttLYD4x8PWFZKC2AjvY4FIuqI7NPyWEtV8rbW79ONuY8A+YwgoDPEf78wmIxO8GlPtSqYXJ3bn1tdbD6cd/24KJJjh48tEn6+bKWiRqnbNMtz4+XN53WBpWSFf7K3j5wnkp4+PPajaTSwAw8+sSmguWms+GdP4TpSRrGMaLHpfDNTHQJu2CkMy1650chKxEvTQPlXoi4YNtKsamIlpPuxndqbyMvoCl6Qc/u1NEJCOQnalkKDbO5OeLBdx2vASxZ1F95tXWNETcmEnROi9G6mmmSPJxFlbRBmOxiXM9VyUhkp7L82a6ZPJfoAx+7C3oLdyoSHC/doljrK0/olkvs2JlimPVhU7s8iFilv9cnEKh8onRXgGjcDOjuQlWDXfOVFPiMyo7P5SCBWmbANU9RU4aPnsdj0pv4PylRIJt3iPfwrnFY+UvmuO9BGxJ8cOuw5kT2X9DKL0E/rkN/bC0zr4X/UicXzj0Wj6EMqX802t3mQVp4KhbJzbAoDhFa70UglX4sqIv3MMGsrQZTmrbg7zZCXyGuX0aK/JLchZ6JW9apceqlfyGFb4f02AGfeCZL3rjvkp4g+Eb8AzCdGB33vXHlT15O0R5qXS0IngaYKy4S9ugF9iqAHEBXelTPFcUi+hc7TrQJy+flmrvIwTYcFnIsqDZ6CHyPlEZ5slvUn/MqeJjhj38Oh2yXB296KF2p5piIfmo7A7sc1n+hPKtT/4cMKdnXjGElp3fT501ZTMiPWWlAQK/Krm831mqYU20MlF30FnvSP117C49pANFBUlhQ2YcvlqBYvwwtWOxdu3vTbSadzxq8u4u9O0ZT1hvDXiyPeI9e/3kTovveYkVCaFNY6hdvRBFNu9pc3dCM+pVkDasnBA3CLX8wMJaaqDHWSv3O5bXCJXTzoB52R4Nvk0LqpziqkY5S0OLbTHyG2nuEXHU5GE0wWoyWEB5oZzwaCcIWdDCXHDRgnP/cDiGYmz4/jBcrZULV5Xwcm/s77+QRcAsGeiALh1cRT8PbLptiHpxZcK3sHr/dyIU+ybPDTuZOBW8ZqJ0s9X5m1bPP3rwfGyI6Zrzxd6WTxdzzNhzeJ/W3QixI6z8xF1nynTW2vjboi45irl6RZkSVp7dxPUO/cwiAa2ySmUGb3mHOQcuSURODwuft6om2plm4ecCO4m+S0XNOYdSF9OPCWVv4SihIM1z6AV/J/TihPAD1ZFWIhG0A13jVuVayhDGNaQrbt4hM7reLJ4lSLu8SdaRvX+2E1GZAuDKhcIBLnYhcIWvcT9wTQ7LtEQh+OEShamn2cZBEUJjhwpNH4N38fDU+zQxySj1wSZtv1jzfNg3H3YI7JREaBR88CUcVXecY4ZGTzZ8Mz3qi/Ou4pmjZW0zeDRTxkY901Z9cjitZ9Jmw3NkwkJFomwzcGQiqIDA1wY5mM2aHfZeJjnUiIQc99QRADdu9ig+hgNPnoXK8lo1T4MMcKyBfEW2GFWoHl3Aevlb/obvswYYIPQE/aW5ySt3fRRlIfT5MiVThl5jqhVOJOo27dYvbPRNcfZEVLML8zrOUJcWH7odXXRYk1tFt5Z4Eh8q4EJUa6AhMvUBsfaSVGkNsipuS7+Mor5nPVhQQgoUiddCQsolnZiWFNIo2i1abBqiOfx6ogezvD08C1/20UVgA8nX1mT3mgzLSWV6sBTs0WsiuWabFMDSYDDxzVACwlSjPPRYkKPgGhNZHDN97R9RjBBlCJOs+QMXdOFrd0Qpr/IIS0xie+5NU4JU8K4WqL4qFSUoWvYBuGXiLEr1pzd5XZ8+M4gbyL3jGtHxXwDdfzdyl6Kxw6E1TV8Z12IjokZhK5OouQ4UhlKQl1itZAA+cRoMcjnFZz6SLKKErKTBGTOxLo7Ex5SdBQOzkw0DU9qlfWmvoSwxMSTdIqLeu0U9mkV5mVKY/sMWauJahpoFyYZhYmWXOip0VejKXaaunDJVNgIN8MOu+xA/nKNoQWAqZ9FFEF8dGyQFkpyyx6Y1wphSYrpdQ7jqAIK8No+rNRWczLi/4Nr9sUFSKnVUUugmM9SBmLZTB3lxqyIABEbE+scGxn8zdFgqXsntBqypywaASsaUQK8HoYA7c4uAaJTK2Azl9Y2ezAQjjTlviApG8x6Z7NmT6ybe0gt7V2UOwxBchOmE79YYa4f7oDRvbdEH4zCjeJ9i6ux6snX+zAR2SvMCSzvICkKDFrTF5QBshqpxaIob6JLWFDeliFIte5RhRhO6qP8eBQLCZe7DA8tx0tG2Em1XBIeO7ovL37OfdG4FyIhZXSz5rx0G4leQycgZHiaTmv7IAgYSuy5fmv1WL/ep4b2nSPt904edXiAGhOBPCwfUv1gvCuftAuB7wpRgnnRGeMV1K34YIiy/aVE+7sXxZInlDVzy4FKObkS7SAIwGkOy3RWQGSomlNQYgHavw5V/5MTVKnb3fXMp1wnZ6JUmgFTDdJbwLJriveOiZC3iY6hVtQFkjnVVGEGttC964PyzjcB/jvFxbQpbBjzFAX/z0roXX+UcGHsuF2bTu32zI8uTpU+LBjIgc8/lI8hspPTJagiEFk3UcxPT9Gik9rrEKu2eCykqXdpPYsF1UqEQUQnlGnRPxldAoIcPTrUGwteokkjZshm9eZskxRhkMsHjCWYLZUTU5zq0Frszf8+IDKhob9hbnL6Ex8dtkr4RzI1RFjCQfY0iQS+7j3g9wfkfEu77Hs4tiaVtqgs4iDZZvf9f76RohRptE3uagJmRoSeWDOO2unyYnSGRlIDbzcJhh1CPJtgAxX9udg7Fq8VsHMZ2OA5uGCdkXCjNejAAyomRQEkfOUzqJ/o+4cnc9nWaRjAdz7zoB3bKB+vgRTrQJDIpRtf5GpRkVUdSB1gxSwENts25YJOrKs6gNmKQs3RfVPDP35mYe8ra1jBMzB5KJcpqxT6810T+ZyAqgr6vJhambZ9Rk34p4ZYKVQ52UTv8uKJ2bLU5qebXcQOmba7ih8sde3q1BW8MNA0RAjli9NhxP0BYLCYP7VJSHiuq9GcL4hEY8QRb5gkS/OI1GhGbNKL3lCL0Uo07R2OStdAMsdvZCe0/GWazQM0U24oMBjt2c+Z2WZaaHtjKxeBRlxFxa4FCZ0CUiCRdb/P6bMpdq4EiWtgKs2ACn0lTcu9boopChPA9HyJhuj/8agyFTZCBXyHHEkNC7tDmB06lyLdRWJLG3WyHs4bk4FFVYNfjFOJ9qlVOmKR87gaeXmklsHCHwctRFVQn7ax058ZERKddsyswXygHZYAoO0jsnYPG2RdKzPDBiIAyy+h3FPLdHmoBL4KDgdOO/cbZq58rA+A415+cx5eRHxtLaGN4xrhNKNiMWtSybmH/QVlRvIszQnKf8nWYw8OLp+oiHcK+IJDMCmLK50WJ+e3M00aLzSW4+MY9poT66GDubbuQH0CmKiIuAX65C8GWXDNMalbRBLUGy6pWl0qQ183BBM8tKHjBcBgyvUlWnzpnonnnw/JXiy0BeKwggEj7lZ6L6QqwH+ZePpjpGfdzoSFqiaG3Z1RJ1BROnvQYsQ5xTvwEre0HnJMTDXexBBujX4HsHB1AdFr5o8p95r/9ZIGvGNqwshweeAbVTGfWtNEY9Ynz8ALxGpGExVUTRe9RCSluxv2I3DjE4eSH46krRTUdWqc6YLPMzsJ2D6oiMviqjiu3cTUodnwUOo8+3NsPyqIncL1ChcFl6XY1MSaloeZTrysf75D6cu1flq5hCceA5Yd0KFkoD3Gz5MpFI2tvijEDzOq9+Qla6SdD2HIPaA3kfCI8cGkeFWrveKmzmYQ4GwFl+PTWiBqzKh0IVCR5AB/ydWerZ26l7ouXeKXtGFjp4e3caG3U0y6OWl6FepGN12B90a9If8WRsu6q/tN1+Ruu46xPhRBfr2qZqI6CS5/ufXVoAPLZa444drTx4rFy0PdbNGsuWv8+ztHL16uHfCnmX8aNHkcJkFmiGw+rX1lQ6ft4xSElvP2wV7byDpiBBVbSuIAIYIBpo1z2zKseR3OAqVcIuE9ADTpSiSmWqMEtWavof2ZkPNtZeEncywtnBeEvrvCuMOK+jN+gN8EG/H4NmM3xfMuLRrflUxcQYVL11h0zBpi4wrC0AN3aTdMXGTrIzvW3Y2NFUshpuoTEh3gDw36RX0+fsk5ACWehic9Vy2HS9duzW3ETVp2TCAJzBIUjI/kPegweTzws0RkWsDg4GFa/ykzyrnsFmsbVRGL/LUQFOnz20QdDCtwZjDvhB67HSc9txGtLd56OYr0AS8eVdkGCXDonrexNpNvW2Ng3WctXP/9HDRZg5MOAZc7kFGmSXbMT0tsb6K+y7JCh3uveN3uSncHdf1xBlHQsmWvqhDi0rRRasdJ8tO/OILxTbfP6uFFJV+FbYZrqRWea+I/YGOtWpGK/T6PuMg2B6mIyVNz4YslwlGW8kkSUpfWz2gt6+7JNUZrfDPgeIVwTolDGa5UU8v0GZyFKPYkqXCa16+xjy70RUwI7vHxZlmS0EudkEYHDDdG4B9Oe8dN+C9icpGVcOaIOCN3MPLzFuWKRvqEcoveT9oYv90M7a+zJjhxRjCCAb2UooablSV4tjmrcfT9jGYy53lr8GxZ5Bh5SCrrNztFaAS7SioFaql+7JFYvigpvHEkFOcdQwImeFtFDGFgto+iUm4PvoYsa+Zn9+j2jizqCyc6/nhKg6fAr3Un8O5i98iM+njIkGFxNngE+gzM9U8kmqVEsOWggGy4ujSqOpstj6k4R9EHtyYjbdfkAEO4m63606fwqvz1kfczBVvxbMq0XNYkUY1IQqZ3/QWQy6/UJOX6vdthmHkm0N0CWHaTfqjtXzHT97JOwEH7zMTc9eb0tE3Wu2Nz05jH6UXW6WcnF8l6MCVrpLNcNMERlRWjx2oDBHk3rJYlKIeYIVpVSOSu8wGLLamrC4PL8UO1JUISXwyVoZIdiroshSZkHJbVGCEoducqi3nbtk3YqCO0sW4S+MZLocosbpUfQp6zPPDn5kPQ8lrqc/i2Yyqgt1PSYreo6FgrvmMT1oYiSpH6i4X6AIMWdbC9ORmhGF4xZexO1oTa2PwZABm0Dw7cZPzO55/2ndn3MwwkTqLUH7deILoXpp1i2YrnuLtCSqCLs44oWxUYnybseOS3Ul+w7AOdcvcZPLP+FDHpLoTs+FY6WlZ+UUgvYb0tlSjJvsVgOIDyUKAdCHxLWwpgXs+8Canv/020vYbkXGDD/uAp1kH5wKRIvZXeVdZygFe8fzG8nu73GlWyadOVJFtcNnwMTA0IgAvnNHtjRA8BLbXQWtlbGsgt0dTVVDqsB+//MXoeBOnb7Gyz5mEe83FPSaEp4H5frHsYlAgxErjVblPcm/ZXYPFLUxz3mK0LGmZzPknz57GETmar72wltyStkDDxogSn9OI9hh8LvSydx0x5ymrJIyx3BRlqMeqMJIH+bpaumwCBXzUQIANsK7njqY0CVnhes+RZfKMxWWrNoCSUJ9roSbmpFSoe/Px1ev++lDaC1epwHzM61HMl+dicy+30sV9r0gPe9HixtupN6p0koecmDhuUMnCN3dwN2dwHnZ1HQGtlIv98k9yIxR0PC2twpAFkjWB8iQlIH1B+CTBYrdmYLF0LMQTiW2yAk6LR68N65uZwZOUB04Q4+STuhSISIrdRRK43Z7l+8yOMWHlmx9Y0lxUnUssl82Za81g7uqT3U+kt0F1SdpCOycT/k4cxcm4DFtxnaNynveqUQZQjEFVEb6k7ftfLNKJ5Kv41+WZ++J8dlxAUc2b+04RcAMR9JaY4nNCcQuFbDIqhtrNm+fnWwsILkgB/JZlNSDVPSrlZXXhqdZHn9P+VX/O1chM+Fgo10N7e2U7h8+Jj9rpSRl7mD4sJjOSdk7vBhd9rI+2uW35dFl0CMwhngxg3rB8cXSFV1r/gEsQ2qoj3szpZbTHzHhUFD0LfaDXPV/CWIAvMBN6uI5PDXcwEXjszoj4fO0n45AxK8zw78Y0IsZS/2sttOzWWdqmXy5QKwPckSidvaIkKR/f6mMRiVrv471ZPwztcL9zUTUGc9XIZlGxsKNgQRZsUlnFRxaAtMrWnxKJH/XTkmsjxxdneWgfQqV+IZBi+eNlKS6nTQN02CKcEvqBIWbwRnUKRbkCV3TbVzGK/1aj9idW9TY7rNyUtmqBWGSCoRug+LHl2RQC2dV3JjpPk8DALUqOWx9A+jWT/8jZR+1qyJmf9PJXW/+Jli0nBMHFeJv3zptfiSNqFaTgeBwG7lNiHF0UrM/K5BynP7VZTRseN4mKizSHZDVJfB3xppMZhbGNauFKTzbPcepNYQHiPSoazT5uGTZQiXT1lxYdbTAc3amW+2Z1v9OCpEV8Dxnm9boC77xk6lPf/PNaSMvFza0UXlM/FZvRNwFblI51UFQn8fVC2Gp3Zcp8WmJhrd1DeHEnYrTOtmnaulRyUWgD8iM4K3RR5AP0sLNhHnXVl/0cYmnLYRufky3pVQD2OmkEV2oQe2wT3eTT6+yOoOwHPVD4qOWD213nWfk9sCP4WWEHFSEwv4qTaMbviqutoyrVmg7VYAxt9Oj7bNYxtuhxlxRa5iBgcdSFWi6r6PKzP91hPfenwcVUzcuCivKa3ROUZ9T2dNZgevZA2oTXWuBnPbh/ATwBBN5O4PJMKqNj2d23G+baGr1nbgYJuEyf7XKI94tjDVM+SyxbJccmGAdJSzK641YCU5Y0AlNtiR6TTKvySDeuzB+pnojJbvwEnDDAFPYQsO1lDiGE9qn62ZwIvWel0S5X4Fj3Rlq+UzFYl+BQU7hjjRoxDCQk5q1WJI+SYlTUGVSR8VDjBiFc2dIJ8vURRnIlptY83CcpQFF/wI8JJtAHV3Vv+z51qt3S62oTEetD4nWPoU64b4tBxTZSwdd6GrYMVaKG53KrGz1RZA5z4rPHzcEyg28QFL4JmHZLps64ZvVx1/ySnW3YymdEA/7J6b0f179tT28y0lPvuijPYPVC4Kp7nq5KRAGFkDy2XVF9+w0boFBsEpJ2NqBR0o67AyENsMZL1DD2fqPbwfU8H7WPgBzpCJzGHa9a6KiwJWm5aj8hALC8uoWn2cbKpJnWpfaS1isjvpLPSEiTbIIWSvHepN5YIqdyVZP3gYCKkpfg+uKJl51DeEL18r74ozS+nd72PylwPjep2VJKcp/v3JxpJ4VyzbcumKbDfPlWYi3AC5OfFxRIbRdTAZiVhniMDV1gNS8wmai/sQvklBzcuBKabugWYxd/y+kmcmNUo3Dx1dne5+ftqPGdZ3JyetHXx6hguF5cYa+ba9XGFfZmSIY+4HkZgr0bQAlfrXDcGbkDvJ6EuX2v/U9AxKqC8g96Jzfqhdi6WUza2NiTTxdETwv9SXdd2t+wKfiviQ1RHKpep7I5HpF6Hun46o48Y68rD+4d36Ta0CGzoWBmPNTOnHNPlss0qkyuFge0IXrySQJb1NraCg6KrS33R/RMqk5NS+lvlpwt3LUyCAvD+eozhjENu6TCv3G3eL4bwNHXwUwEWXon9aAQwXL61CBmJZiY7ENl6KIX5OK7FtqHKEOmTDFhLpo9RwPXq+UzMdLHg1YI/zuwsjK0p/ebBVb8xecLp1/7QHRRbDcgnBrD5UsAmmaa5t206FOqKQEijdMZ50LzpG6HYqu6xOl4Rb/14OJOf8VpjkBokD8DHKSiazyWcdCFsKLJ/wTYtm83FkeSoLdprl+6YcabKtnVdF6qfrX3arB8DIZzGS6zgLbllbU4NWYQ20eB+9CZNUPGY9ldhoStguY7a6vGh5u5NzIBzMwdHCzcGCDo/ggzrAZTlfJZ2psOzeaJl5A8JF3HP6OlQclTHYapKzX1SN389JFjTHWrQzxedmTbFgG7uaCmSMfKJ2G4Ik1NAiOn/Tby0C9P7vprdjMOqfIH+1Y22IO8pxr/xbkA9vqPqQz/qIXjVJ5my2SK3P4h/QfqsAec1PSOBKBdAhh6TiP6kKQ8C8mrTL/rECKSHkz42ldkCwMOxyVlTHMJBCV45IaHkqH162D5OMXfr2sycAmSE/ANSgvTW2vC3u5hJ6ZLcFe8GYOQlZPp9ZJZ6T8IrTSPkwsiaGr9NFvLj9fTQyEDr++YET5JOyrHSqUo52yDolx4IsLHARmYYIiDYWfGzE3R46Zp6kl30nm/c+7pTKuuQ1T9RKjgRopKRMo6D+TXEVwovRHgjPNnHzxs5uf+6ZseqBH+dyv38saN6OUon0Lv//WLwtuRsCylOxBhXVuUrdftYfReyZ3QSGXBfwqPrQlEV4PIzCYqfZ3Vzky7kZZJ3e3grM4u4CMolS5Dil1aXan4/vj+6XC8OuW1pNABDWQYw0DEJeacReUH/0ionq3knRMqEjvdlx9yZ1r02/ASe0DyLlR9KA3pwNEJqA0EC6nYYVHoiw3elSoK+s0zib5lEhxq1Z68AFFCxFAZHyJAu39zQLJlQHmOTjM7IQajCo3IoKivSBRJzap9EX5xhSyPt2YZD9n4Jy2D++ROJoOjyyMYYbqU9naB+ie9BUlyvKw+rrOhTnG2ehluPVZ0MaUuAB2ipb7ByM3hhvcfNyHrOZn2hu0jC297M3iQnf95y4zf/HviKbGfSZg1IgswDeRzbGmUc7P1csUHoJxBVtAdTckUHrcoHnI3sG+qTDEr54yAcJxzUiYDuQ85UiPqdrLqAX+ZRd7OnoO1fU7CcuhOIJsEZXxcL4eDsqDk0i0NkhGNefqPH/gfHcuSG/4mJlwmFIQ4AdUCs852DPaJJiNA+Angt/3NYb7IMzo3+SIMSXRmLmrGujG7Ha15kwCJ3rT9sDYFrQ8b/cBtfBG87I7c+VICVuwta4W+kmXztaQ6gSSVp6G17sYY8TUEj443e2yPzJfTGn3GS4tk7dzUW5JPlF3t4xnNWbFl+6m6A2IiTKq5wRQ2CoTX7j3879Ftq3VmY7OCGJ6EwZ1t4s3F4HYeDZenx38Ef5pxrYH50hGRemCO0qntpJI1UfRelkISrDxOzaJOPELBNtb/lsMF7bB69Iy7zaiZHKcJvlyVZnUDirCqNciWmx4WXMXBs6QI/g7xcVh/Ew5G7BbAHFSkk5n9YPuJQ69RtkEbNjKU1Gat2CYCdF7q9W+VXa+WqMWVUu3fjLc1f12FFwVXIwCNlrWU/WtenVy6+SXK0UYqLuvJTo1hEmK850v8ChNwsw6HMPGDttJth9Pucen8cq+Aw4d3BGlY/VpjfemD2Bcgd2+7uztPj5q+0DpO8Hvkxu8JjqEpx+R4HXwFGVx5IOD/U7aEUgHryrozgXk7g5pezn+R5Z4KJqXIo32l2O8Ghq7lP9c4wZ48iT1Vib+8SnPu3q2PlK3I4Hy2vpCPo4LXQRtMlM9PkB+/juiWASQCf/Efm/D1IUcnsxIn9k42OR17M9MhH0lsj3E7sQ56J6U+u6FYz7lm+KoDXNBocBBy/0Zyw/GlWX012DcnUW5fYVJOjmDh5HKbYMVExrJUDjbv0nRRyx0Fo8YPAos0THT8AYM6uXqkYFYwah/rTyVQOIt100H3ZhjnBgvDVGwX0qH9eNsVPsYrGYCbJ3pLaNDpYasYoB/368bkdR5AnXu49YS+wPGkUoTjxZeCiKmrUXXKSwAHTOGmzn1Z9+xh9EbgGTlptchFNLy/uS684RO4rBPU+vUQTuCYVQILufPG8NZLtm3XNsL0w00sm0vjLzlvK2K55DZrtVwnKfJFk6CCh5yiNE6jJm8ON1Htaj4OETIp6nptHsbPkgYsKXcWWttaXy/J/2/67n8WhfoLtJWgvqsCAHqwfrzn8mTItF81UvhA0q6jNjzM/cd1PoUKHMLacjZMz0Drx4NOX5yFkj3lU6Ys9Biye3q8Bge0328h6v0aN5YWrNJl89B8GOxGzmR31YfBN150s9CWbhCGsK/oyzf3rdj/mgcikuyQBAsHtvrHUcRkIJm8n26IP8ZkpJlkodKpz+o8xOAxR9ENzXgNyHhYX08PO38piG8fwjSAFsO5WPorps3EJOsYYF4K/usv6poo/8FUGTm5YmHJ+z+reDzuEcANJtNs2FAC3ZYEwFamY+mDN5Wd53UmySRvGYHE41X2ZBsUSOwvJXEgWL2O7j9rpxkZGm5yjyiqHsBbY7EdVbMnVM+fiV7E24W8sAY9szGUAMMRjpOo/LCa1XnqFvtK2UXOscINHe1UeQKrdQvLhNIYKeziHXW7xJ5ykU5FO78wFSPzg/lQj+91+yw2TYM6yABqoX9mQc7aMoR8iE2dpgnfFbqxH9SjncKec/VR+nsXBo/UK9KEDRMLQXgGYeCb3YfE7yMIpuRIsbZM0GQEfXS2JjInY31Xwtuj+QVqjyWLmDZcVnQi1reVbtjA6HVIJesk9ocTt5V0bjEBx/lSnnOSohtNuMoyQeyIIj5/14SGrHiKp56VxK2ODFC+bxSEMQzR2RsX/DQc3HCm33kAc6uLZlJinKc5tS16fp5RSbaDQT1Kyn2i8isH+PvA9vA6KLPSaJOT3nHobKjTTUwvvEzBGnWQcGmSeS861RitXSxfnsnTIBRGnbip8auO862/+JSynq0ryY2Q2X6pxGeaKy2JH78vrjz1cImqlKOpvh+GtMHhAkyaETolIE0XI5vy9S5ray8hXufVk4m3GiSU5fiFI3UW1qnRPlHHuS3VIQASboBMzBvQlYx6Qds10wfuxUTgR5K//NDDwIIXoDxxUgKsqlyXXOKJbYzecbBw5uH+E2x5XiSjR3NtRMNIZANSeSdXRVG1aIggr/WnlMbSqPr56zRJ2p61866L9bm+Y1jFS31oe3ZSebFY+tCcco2eYfRasx88iITeUGw2IuBHQBVCibUxsK6f4ki7E9irDz8kSKEB/zc9pZZjfGxBpTommTc+sf2pp11wvbMi0ooQpV1LLSSFctDvSiLx/R3FxTRIOwpKYZcxCO9POo3vUAq0sFLI8/ehBwaRYFKzk+eVAjs+EF9BCwFh/BSooBdSfaI+sXCYTqHF+IBUeNbO8yLfcoAoaddgkZVyD0bGR3S5u8q9+trv52ltvvsJyQX5o9BeJRadqQ/VQULRV8W2qVNroagWuiGXyudl5LJtK7QIX46jwWst58Gb97/lG0lCP3u/Y+IaA4RHwq+7NnPTm7b/bzAdALXbuAlCl0s/qnQKGjCRhntA9OKTR8TRy/l91F+zsA4lVKKVXlCAKCATcK0ty28rYY43GqgD1LsPOyNPRhWojkys/z8qZXu8HxaRKOne5qDrzTRKjEPfHpBNkOq5bHXGAsvKpWddhvXZQhdvsm70VVArxenTa2Gw9+PvVDHMIBCWbfs60Bt4u5SfOe4sGsa9hNu4y6ltLOIc2V/bB4ZMYQ4OIGOcDYrlls9xriMWs2ewP7RBy1wc/lOZ6ytq/Tbmx9uLPxAfvWpeC0dUQ9TZ7W6eOMHGnuXbOKXv6RHAzYJsUH9EkQ2quuN6FmnscNhw6jZjQGZbZklaFCiE6BxPPPQ4JTqg3voSUYiVT1V8wAIHWpeJDhZTrfXPHFMuxZsRp4Iuvhy1aaiXaLaTdKrjO+CyLvVzoHtTkkspSylOhM3pmFaQtLwEHCgWKRDVjt7Y+PgwuK8W40qB64thn/f/eiZKKIADcSPH0lT5iOv7NVrikmwld4NljZMyDrUHsDv2Vr0CurK3X71PjvW8iL0MWga1OFO1zVoIv+zpMzmVcVmO0eM1lExtTx4/wFgXjAu8RM0qaCQYIgfbdIUiJTx+TSrdLJeTGltKSDiZA4uXxm/Tb6Q0TlEKke+geui+Tp25zJ84T91w+Cgkt7V9Wmq4/SxyONN+jJHWNqC0NjLHO+WBX+mlY/2AdD1Vf4aSr4h7CQDGGiWrsVXzbhlO/l4Zin1DYlFj8LIa+9YAtVCj32cRFAJQMreXrhdiVPsvgCZx2NY1NXALti3o7u28wblHO2pAFyd0MP4mL20oziei1Pec63E2tcdSfkGF3kavdclkjEXsix+HZmKFxnh19/oD1C9mHmb2j2wV+X47o/uWOSep/F3WN1LKMexKD4UNvLUwHY1KK66Bp0ss3BjrWGiCOSx3M1VEBSLdydmdvZ60qhSj9wxcSksbjumvYZuqf+vdIJSnSTPBflvODy3dfMl6pqrfunHfJdTSvcA60PEmIWs+W4acH96VFt6JqcWkkTo/lVZSDnvdFs6w187hVK4GSZ1UZ941KeopZgQtV72f6LHjPE5qUyAop38ya2YRNTa+FaUkRqgG02L+Tah36N4eL58PXKMvXgqgF9uAQzxhW3xw3Raod1khVsiWtGnyi1Hb2GM1X3yGe1ronM8jh7Zo4W4Jt6TxYGNop7toaXrJ/HgQIXyAObjb68JUF88Xzdlufxu64d6zYB4fLh5vd1tGBb4jRsz9vzvJq01KiX3xbxGyq2iXf9941Q47TOiw+dQK4CIg+YBKoJny64AUCd9xJpmP4Pph2ifWN7lL8WLCgxXLkCoIXFetTiAI87o1VHKtguCPorH0IYHE/1nmuhpxGnSv/rJcNxiv/TSfvettG6CbBB/ffSDJBCKXOouz5Zy9xAB89JoJFK852lJEIv3V2CE7BLUijrfR1fvZIJuUWZ5e/QBNs8nQPtHtWeL5sdJRjClAqTRRJbzJHOq3IcGOinuaWAgU/RKwLmUq/d3IzCCE0MWDLFpQQzUd1RAaGeacJhi0DTNHF3M+3wwD1U6KNcSgaULfQfVi1fEbQVkfJrnqAz5VgvFhUXUdPBl9l7OwEDBzgAkluI23+vUqxyNkyL/dLqYfgfu1Tfj2TEz5dR5vIuNgvqJl9EjhYMLLCCY9DzhtTPosyYlrROhp7Eptuu0PDmqrvfyh89js7VAt/88s03BGTBc7ZlPswd79IckUmLsTm84OR7liAnWp3hyh+lQ3S7CZ9CGyz53evDOUiNvhwzB20oTluhhdhnx2D1YFxfYAGpTvpklSYdljS2xzIoNpBnfXqA6lQdtaMBru2hHh3zXMtuc3Uf3GVZBsj10DikZOvEMa4Dn/sLhRzdSBd44S3xQBAHo0LoEqGtg3YjR24mTx4I7nIa0dsbYCIGeGGdvJ5Zt2QLekv4YmkYtCTnrMaV61N0wvXKnMaQAU/1YWx9naNLkDapIor1rJLA06t9+iD9EfBDyc4vGDBaCcURseTxGzuD3XsX645j4Pc93dtgNATMxKwSsMmRe0pliM51pClrOnnKEufm6WoiS2TKvAxF7Y7yZbY2PTZTj0RUsi1+NEtvbeIFarF8WCgInhW7jMlkqNhtltPhC9kVvDsYw1PANDod4XO15YKgbj2degsiJcGb425ize+HMMdvtB+vJLYuORkgAPpnXlcESUkh0+6NVeCNq7MCSs9QI8f5MDVUzf9pZTqKzDOUOFtSljgA/vF7f79EjeJ3ImAuFYMzzmse0wI+5LIQWvyZ8tjyN6FbPlNlc/Bc2mqVvmcc6X7t+qOaPxs+cFtutT3FSyxLz1wBcuLiFpEfoNgFJoZk4hZCACNO0H02rg0xxcmgEDYJgbrLUU7UlIvCMkK0b0hGlMvQ0BFYE0D/1xHAw0m1tC1pmBErPnH+JBYT2hdgnSIaCmdZhVD35jwbfI4Prvg0HpyJJ+FqVw3yE2fuYqW4k1rFpE3sA6a6iEnEd6lYSiqq0lpsvC2nZoTzYreLXHZyrwwh5jCqomUuZ46g3bdXWHvfoaNO9BHed5BpEQ1btMRgAgGgC9yEJlx7vy7eEcKBhw4n1poGIeVI4rC74vEDFHrhkEZMgKmSvV4y5hmrd3JrCoMBmLKf5Kxpw9Buxl+YI9BrvXEtR2ymXpKJzWWT0S3hdDn31BSr9El+npxuR/plvj9+ujvRCIT+naKokZdJ93DnyRWoxURbXdD8i23a1PWekHKiUuh4KpbPuG+7QWEXmUdTGbsODNfrNj/PYM7+3CNq9Fvma+vGKDgIubl4ukv1HvFuC9jqo1Oj/xfa3uXmAxPIVqh7lA6sYO89jTgcYEIk4fdYa/jDy3btzdOFpRKEzxfvQ8Qe+tHPIYDA/+PLR/vT8aIoj2boUw9Bi3ls9uynO/mGR/u38JKwOiC42z+BdxgzU2cHNRoT9YyaR4dpjRSaBQFJS/IgPbBKNnyLXz+glStT3oa6llH5T/rhOoT0ORGryI/QxWyLId6JxNwesF3MRBUPHB+pxYtD63rfCntqwtQ4BCGxTv+r9x6Qp+VvZiJBCpLA0QqTtVoGKY6DUmMqmk/fKP3hcAgrfy+SEbpVSPXfsM4LcUOkdqaPjXjC8wbGtxmxXkmn/c+a2w6jK/wpn4tTpkjRGit8RuWZlgmC66VOE+/YemPel2CfzA5APu3tK3PiUZ1wuN4KskYQbf6qDPqa5ONBir995y6tYk9C3X5ibhc4cvXzxsxFol4gG6sLU3PqqTJ4yKYirqtO3Eq5Av1PwAww+ethQEQkJPRi+DPr7t2qiOYj/S0xWYZnzOVScExFv9g00NH7wKT24/gJnhzLKgwd5kEKRrthRKawlQPFwCXQhywbr3nF9nCPOTpfPuG+5FDl73iWs/PIrNRSp3QAD3vY2FYRILLEn1LeFDkkyJGKPo5DcsSat6TYIByvaOUdBi6XANHk1IDI32o78S3M981t0jZncPSEm6PvX9I2AH9nI3yeJy4b2SBKKhVvc4qIWSoEvPFRZnPxldFfaBcymzwOS3pWzcbcAIhmD65xw29rbicFMzhi/ggxZCAtlagrPSpS7WU556tolnQLt3qglUx3m/LHU6yQg145HEaBm/nAX8C2RXE+MkbDhL7Z5kthcsyyTAk/n56Cj08sX43v4xD4ofsThkHQLFGgueFBAaotTGPhtFrrJFnuRFq1g90oGMH+UXoqgMAZS5m54B0q5zm8MV7iHXS0QUTSrwbvh7mgtc/2vEvHM9jydJzrX5bxhfakZffGezTbV7if95s+yarTSX+PmYhXKXejZjMDeZpon3Jgn35bHKz24fmlg+6eWLx5vXM0hs6y/toL+R8W+OTdbs12qgoxnSPXnK1k0QnMx3+7jqf6lSsf61S3wP8kMfppO2qEWu1Ja/FRF9nXa9VaC6gfcPSAdSm09rHdxxCgjmTjSAR07WnGyFPZQY5H6utZKLSMExiHX1gk/2mqH0SOSkufq843HaHiK+hYHqcWRalzMMi027ifE9nZOyq79nkjb6YuAGkkJunMoeitdic0RhN1PA1TdCAqh2ffJt9hUsYt3FA9nvOJd+LxDeHxVlw4Q7YrwbZnVZDab3cLKU0D5+itPohDnHvIjBOlYD3Grd93tcAH+wX/K5AoJxJsEucnqjdBKczPox1Kc9FPI/7AdPSaRchCfF38V5sntI04BI813B1lKvhhShJu8zgtmaiGegXoH92tyY04vPxwSCVJddFxK+imIVbMOmpsK1Hm+W3B4k7D4YwXu1dR6at6A9IEQSwqmZbmhTuaRkt32+ntSFS/8YMBnhWv3DFmQzgeXhqKMrM+fHTi1ksWRco16DpRgncGbMncVzaBLDHFYoZZVeFf1BvgtsnlpzmOmFCML1HScJ/RGQQpB0hwRuh4JiJCk5zsJT8Y4ptUABJKKXKONDFgA0QVeM7hb3rxwRWSl9aQB2qMJXtFuvSbWSb1zvBe9DCjOyFqp06dPT/7R5uQP+TyYNqh6EUrO9uwBVhty/nrP/vQFkJ1WUupvmnkttBzuQROUILYlAqx6FkWVOyMGWXaPBaBJWPoAhvbxhw771FfRWKVJ91sHBIWhIzQx7PqgfPuavFR4B2M5KZ50e3qZ3MREAnNSLnYB70xqpRUPei8xfyeYp4Rzne3OqrmgTT7oGvpIF3uor3YqMLZD4n0NSFym/yp+QmZpGb8rCLLlrB57PbWo87j5CIRxVoU1S3pxNyr/OZDLYEo51s4MbhxUK9EgkzJZOilNWp5scL9U4USsBnuTsZc06tYIQqSPAlGwD4K7k4wOoo12G/KaeYKAYSuAIU/fhIECxXoG5XyWEH3+AYIlGhZvftHdzEC5+Tyt6uc7FaPTbceZtzfapSWgTVYX1PItbvLcvFqkhfBIuokFBUbJ+06oTEhsgx1vx7Rk2yYdVmXUoIBp2Xb1GqYpCysfJkRD1Ni+m7SchH/XgKsP6IbR6wz0zDkZgUU02KsJQF5oGlcbjiKVLm+6TWqSXJhaJQIs8Sy6R0p7vou0/rgzGcPNymCvSdPdsn5BKwxCoHOYyqohn4DbZCadANKlmQSv97pp9A9eqQcbkQ6YMPTvNFyDygKkSNsh9GdsT9I20ezXjwphaN6Zl5sOljtO8VavAkXGuZCe5AkIb5bUzzDr6tzBMjdagvzEWv6Wn8qpAT9wwSoIAFh7VkggXmSe9y0pc1K1dB60B6OXwWcNuhpPdtN/I3E2rHYnqmkT6GBCJ1L27r6D85zmn3ycOffiFZNWA9950/aHEOzs9hwOykWSR/rOTfacBPty6o0qGs/m8Ws7y3JRDBT5V3gZnUyWI67C0u+c6hfjXPTpX+HdtChAjpyO85Q/5xn+uCYlaQQHa6y1hb4gKUEvpBur48/2HY9Gbx4kxkSTTPNOQfQmdZXkvFBT85SemLn7v9u+pj8VcC4kG/gD9/pdtmTqNEqXzqayBNImDPpocntMRlmk2me2rTVhdMWOBPVuFUYUzdb/4d+793eQrTpcvctK0vdz4rs8s4AFDZbLVPVndT/EQsCsF+CUuazHcl1YXLz7IX6zi4KLntDoVKwY9sTMHVYb2K5q3/IiWlLS8ws3Lo6G0U/vuu5p6atGisuItqu8dUPn3LqqLPSgo5UJHT/HBh9Eafj1+QxVizls7a8tgXFqAcHwQxten2IOf773kWR4wCvWtELQJ/SIcnp1jMETId+LdKNlvwccYamtThZMifb8+UvZ9URgPnR3DUkRgxX0jveLhoS/CPmrSsGHUmFI768GFpcc6xOzBNsvW1pcYILyKvB46LVVikLg7WY8+cOnJFMcgLEJLxdLPUb0adlXWscx4xMDBOlWIoF6aUDsqHGPvY+wdLQbAlSuPN21TiulaU070/dq5aIcpQ+gFc7qzLtSgLP6ubDmQdg5SgDpMXeQRNqFvGizUMm2QnGGgKc8aEHL9u/OBi6y9s/zajJA1z7ESl8CSH8OTwGU05x4g+2KJQaVDiyIF7if9KV6FnGoIiwWN3jH6565z3DnUNoX00ObE3OpQgwSOve5rPG5satPPtWQyxjDEAllmCCNDk++wB3J4X8+0Vt1VhuUsm986UtRIqhX7URXwHRx0zeaaDINm+BXeUF99E8/WPouOgF5DOdFBbYTChy1T5gjPhTNx4nd7WK5qP/Lnx98d8ohZ1OY08MKqsj78hS3GJ+g9LLQU/w/2cYr8PW6yKHYzFeEvW9nf6Pqs3zIE+J2VppDUfUpnL/eLDhB7lBv9aMttjpULWaxZnTcBr9GNl/2jk21+H0IabTDjUddz/c5CfxmLkQ1x8NdfBS6HLPaB/VJfnZaSoML2KmJV/HETkz6KmnLZcDw9fsr/jl0OAcrCNowVVwKqonYE8Q7RA/l9xBtdvZKFT+LCaCXP7QmkSjbFMZg5+fSNJS1gN62W0cXtwYqq94vE6S7GFnODEVEigjsrtkY4ADGyqMmvSa5BfY+vRWQlVOMiHrrVn6MVo3JrMmJyRr8GTeti9N4Kw9MdrWiUPGPFq/M049DWpm15d28FUlo3WWrrvaChpUTRENjwEtoaAFTDmXJJ8bwcOGqFo893364sBMMkwcnTBKQlR2uMAApcAAjFM7lQ7kT5tcRbKOuxce+oWCOKvUSlakAou5YxPbI3/f/UiruxMHgBoR+NKc/++Dc8TpLWIOuSX9T6ICGxY0d5ueEi1Fdx9yfEXb6oUIrRjHlf2xS5Zqvx0ns+cBoazl6+NZeMpZApV3r8KG1PLK0fRvp9qCwMqWzINJK2/eMC7Jkpu417qcFQbqKuI9+T2ATZLQoJaL5MMfakkBvDS3BMtgDVebg+VvyIqwghXvlzF/XnSuwUm9l1quehqSgXQLYSo9WwZrsslB9YKeuAiiXGJQCdl4ZuqBj6klOmKZoEB0PU2YO2rK0vQsjxEhoSY4AgZ/E7Qqi7AoQkkHlKgTqvHpM2G5w9vFiwxev4AHMZ1fqHxQV9951Y9OZXe592MhuAMNOEhmAMqDzcA+9tRCYh+5AU8uAQhkq0pqZlh6oHMHYv1qpQBaxcX7Jsp0xN+nfX+ovdZu3yrm+uUQwvuQIkXWhmk9lNEoc27pxnWcl94aNyZrO0onxvtQkS1/b/ARU/9IHirRcmzE1hpC8o2L/0PhFFq3BYyYIbJpiBtPEtlxryQVdv6UsVOCtj1RmaOy0a40WtGKictg6WB4L3IDIX4yO9emKEZMb7odeP7VWkmKdBNa/vY8Qu/TnNasjSgNSbKOUFZ8izkW1rHD9sDtj+kxny9dNFRR1j+5T0QzS3vbAPzPD0FHf5LPSVVxfmey+ul8vvBd8U3Pnei9JjkKHDoiC1Hj7FWykyDuMsxfa7WeS/FRTLefiCA2fzu1BAM4oIvKUwQU9FNQlFTbAJWq4bcKFb90YtsrH2qKEXlSdV8sbUx7DB2b8LnKI6kEjiMf09q7SY0fZxRZJTydA8h42Gb0qEl+GJG4Lqqh542xJnQKbeq9v62601g01jLbJx4icjCh6XAcXBnL46Qfrf7UiwwMn6rsth6pQr/kIIRIK+Gx7bKEYjxn2fUBmJlsOEW+e9znBs2o96ErnznpYckJA9Au9sn1qwwwBMDoyAyW7Zi5xaRA1fbA4Ld+datNvl9XoRWCR5NPRo3a1iv4j5j+YY0mDFTme+7G9ML6FMwVmMlal167QxLhV5Swg3Lq3p0lJQaUWNdeKr4YncKKLKbMLLs/qOuF9MxSEpm1/GzaGLg74BGAXlnq85h8wZ7liUmJ8di8STAGq8b09zGBo8Qrc9FDBeiSx8ROJj1J4juEXEmSTCJNuWkioEeSKNLZTMIlp5Mg1GLIfxwdFOFhbEX3dH4jCskOhwE/KMqppUYmVJAd1fpmoGc1shjrh2r03x0hBYLebJ8cejgo9gEMTQv9xF8R2TuoZ0hhoj4EDfjqFLiBScYfn/dYj5E13lyf9LcA59baXVK6FvYeQ78c0ZXsd8O4HlfVLTmmIdFXudR7R7yzcJZaCbDh7iyXgRtXUHBvLP1pRBevmHnbY7k63z88NHWjSQvW70hIH/f+hOvCJdbHKd6pRXXLhBCWk3JUy8msyJxi8a2+jDa/5VZOiQGBekzyzX0ofnY10l3O3xF3AnyqeFmYh4SYOAjyOE+JDGRqFKBGkMQeC/BS+pSPt7SxyABc45qsW93Lfzcu9YR4n2kMIPpoGEn8BvZW3L+EF+sF/4/9KsXbORC7KK7Ejg3+XoT63wXUtJvy99q2gxvm5Ith5CEFwVpLR9eiHp9fOIEMTD12GhLzBN5hkS0QS5NmqBa7AY9S+T7lNG2wmP0Gk6zuI5cKn+cysQ76Ay2an7aVOo4TPtACQo7PkNsJ/eR978QejakosqAECsz3NpRkqnO6WgFUWcJHTjd6E/xvpoYYy+apnaCEShNIv3p+zEPOUlvuavsmMy4EajisvPtfdcPNT9ZWm3SitDAr7Yuuv7NBKC5xM11OudCxG6dGPtO6SST9RD/PYZIAlvdGvzuCAJ/h2lP9hVLk8Qk71gvUBqMimHoM0G44WY9hQzDptSnIsyFf6S0BDtptSrIAmProG68jmkAlJdX4XJauoplH/8eUWBmEBfyT7JnU1VT6JGFiv9QFrkpLV731aytvhkrcNwHo4goLjlQehKvkRssGB+m+G7uLRj1cuAPb16Cvz3QA9Yw3PpHFFyzME6NSS6uJhnbfzqb/VQcUzsvXdfrcIDCaxqTn1KQfQUxok7XFyS1O+JaJRGW1SugkFEM7F3084zvnJCe4DLkwRYQeyMG+Og4z+A+oMaNZSBD92huauKJ0QczCPzYqurWcyQZVjqGYRdjI7oyYyKhtAQhDurHnejLfTbDFunnmLeehkQth88tc/bj5poqEy47cnGfh5bAFmkPCEuXhhF/+8toDnO8PiTNNXE4sU1+9Eo/lmhQECRJeXSxo+EKRJ55rz6/dWiS0kh59boAYJDTKrbzaRqzTHQ9RQ3OIL9JwabTs0HsoWzM91nDeRGIoFJI+thWOxUC407x7mwb/ZjIO3e4P6EAxaA7560dMQ0QG3dImFgA+5I+vNl1WMBa/WS+knghaf4dyTBoMDoX6g7TRnm4zEP6KPYAhjrG0YhHPvttyUm3AphGalC9tzj7vjKzAAavBU2otRuwQSVxjtBihvNgzdBkEJC5qA19YT4OYoRGVes5iOfrdq3Ag7yf7JwY8r4rliR9iWEwHMpDh63i8N3E62IDc+48+Eb9B6aSRJEaEZ7k5pzMY4rJjWeoBVlbnKTDBx5g6f1QMGQxWFH0JYuRfny6NXYh/q1iuad4RooCUo6zoXzMfTh4TSkDMEcvbuefQUbAbMVEXLDTtPb+8xwqDAgedEk+XqobD5SMQRy0X1hc1hKG4gil+CDEbaLhefVyzlPyls/7+DYMxZ8zyknmzIyWmeQ+pgnt/wTow+Jg34J9D+tSRGRf13ZyjMPvYuLBF2I+26s3zhWWG7OtG5l2AOOKAfziu7M6Nfm8qiKWx02TnnTdaiv2qIJl+N/GUOl+deEsUj5l7B//MuP7Ejl3KghgfVj+1Uhkx6Up0X1ZFJgCWGBU+CfotXkgaUv6drQ10G4S5Xpz+wMEJdWmt4ww3PaiI2ov0MH/nqcjJY9BUFQEEp7X//rfXhFqWTYBUwBaKdQFOnEfZ1e8HJe75afewJsgEJh7k7Lr+7y4KHS0F6jtuAa/d96TrvFQ/D9XFHuNNWABjrenZ/SI0TM5vFXWS2+h35OcgkcBnoWBiJ5xBpnAZhXfOvZCRR6scKswa/bhg4v7wuLeYyqMlsG8du6DE0W0oJINgcugINzoui9YWmUmY819/R/Vu1O5qpCHtxZLwhYMUgj+eMXSoopEPrlnZMiuzZRP12WM3JDPt1+mzKQ0LxunPcDWnafop51JT/5IOs0DbqXfVf/9V8xi8goI19z2+KZJOVQa79dke5mcSQ6EFsWkv90cXxg5czO5WaWyOs/DkBRkTT2rNeTo2P27OTLSD1V9vVsP4ceMs7PDzWOk9WtQcsNVvjk2yScaRIRcvd7GklXslaGQijDgw9Z079qjMBdOYGj+3yC3YXNWwNykmbKtoa+3GXIuPNip2m3jl3kp799dZNEAora0/MxOiRnMU02OSZs+0Tb4ez7FgwPzltukb9bMEO+GR4Rvu2z0Wflv0Bp6dxTWezSLr4UTgKxj8gkMGzdxKwwnob1LMIREZY54E71VZjRgUzI1XvI0iPha6z7eia4oLlx5bDbzZzFqBTlQMlu56ntqdedKlW12R9q/1hSFhqVmcOQ65NrhSuUoEnqM63qpFM7Mx9ca/cyPWxXEf9OnV+7w1qD+gWMMRWc9rxYEFVJZV3JdzMpuBiu1Yy/qRIsFzHY+t+yoJVMnfDl+UVgIY49ynYIOehmu6ao0/FfWTzK6Rgr7jgqDL/Em41DOa9tVKAXOFsZMKnIJkwmG3F6U6V8lQ1jsylAahRo+vO4C8JU26Ckyynl7a36U0PQyXn2Txon7PJ4oxIKr7/uYWyypdbgoysDA02Cayrd8CoNyXfo9dfSbJySXe6WDDxT3/eDZJ7pJbZaqOFbM5TkEt9N/Ej17e/PVO5bZGWFuLlMszg4FT2iRnFC8TlraS5BOymDlvlvMOfJ51xGUJ9GMcJEeqYKYyhVg7vlkbTOGCQN0Kt8VR2bsL3KsfPXo1x3lmZMLa6y5ycbly78So0tpwcXrUwkDpR12OuWgv8PZglanQepH1DtEc/9rqKJoIxY+htrSyvJWgHvCcLxTJzuevK2cfgibZGcFYfXeoHl5frgg2430hBhn5bHHJWQVAsgvOgG+0i2eYRhm10dAgpYRuITwhiTcA5FO+0mnO6+ZnWY/SGvV2VsxpZw3BvzwbLAw6OWDJ435Jbng2VkalHvjLR9GFbQUS6CdzoE5VgyETwTmXGVcr7BdlOvY40yqZjo/TtZ7nLLW25+QAP8HK1wXLwYbl+U2CHLUAhhMQrMTIhtu9JOliUbJlY7sNIXJ4BSBcaq9GpFy/QmGPCQXB5nvQEnSNFEnb7Z2KORcul9REaneshvi1mPYeObbeCjYGLnxE7WJDBxHeuLXn7rFZtuY/gYNkn0v33EDD3Wwmvf6cCtCJhka6jNmg4xUcabNQFiMf76EEG5fZ7J1h2SYcge9iFtd5TJ68EttFKaI6DAz8YnvdjczIcjc3P+lGhpe9d+zzLBAP3/vfB1E0W77EGuaFahYrnCw1tXSBR6RmZ33UygTVkHWkCdQzFc1NWAaKmElw28X2StjEXtzjFYN5XHd3WBQMoewsjCh5fAke74BEG7U0Iovu0u65+oVK29V04bXLECo1P/p/aPXkY3zFDs7pXeFALNsyfparalkLqbqswyezM9eACiLErT9dhaFuGzQvn/3RLbotE7O5jJfuefkh47MqfiZeGgcEG4GfCW6WCE6jVOnqxkJy73EEF1ShgUGlLpKEtvHZR6BSOfV0Inf4822bLdWRH0ZFqlgUawfwb3+rRMrLiOwx+gKjdwkK4rBBw5c00udQmGkRUQ7d4nO3Y11gR5pGwjePYWoYMESkhQfNGVrEeROuIM8SlwJK/HV6y1VUpuN0bZa72puTdc3V3U+KRzmE6Atpluypm0iiXBUsEDIXpbVHxTq66Q2IFaq4k+fzUDmtd1Xxk2DbhbMpd9WdtUAvu8H4fWjCTuS4s43q+W9k9ZOkxcg+ZH3vbO+sTV108HuGKD6tUayFmU4ey2SSDcek6uTQ2HFG4zd/k1dFYBp9f3/mStPKwLm0mbqx3hQoTMLz/+LizZbsntxcP6gMTO/CRL9uacxL77o0A9MmLh8DNleDjT46VTGDrNO5dPOisFBwjYrujbFMEVgQsK/r1RKc9lZckKTFyrotQECnLHV3KKB6GTwJ9ZZIpItcxEFPTnedvnejHVMDNj51+gomKEGQIxYxCaknSQzbbKt6vah+nV+xGReErxoDeVyRaPPvr00ZCFLck1rw2q9dkzCugXodvdO3JjwwXM2qWxf92f+TrZDWOnYBUXxixNF+d6AM1Jo7pgCzxaS9LN9W+h8JHBpkFHIFjUghoXOFCZgTe43bmMY5dWPFYYD/pWfszKET64pOaQIKmiuh15p/qudzyVYuCPFOYJ2HtYfkSwWGmQBzq69mgjTI0IRR5WarnesWZCil2zHB0jXug8leeljtRqh49KpmiXHH0/LwWHa1twMRd2O7pCceo0fmwEt2Y+rh7Nuz/8FxRXT3wze8eo8+qQuz1vy3Antqx1n/WoZKhgOfijGZtou/bAWDx4NCkdDGMLjcXXQOfeVVksFm8xERFN0z+Z4R2F2Yf0+h9G80nBHvJLkYEqJotnH+WYl6HaQBP6BOS/kxWKN6UtSPK9doxfA7D5KCHPn0/48VW6zs43dq7WYK97AY0wwgjwnfGSBUR0uU+7LdgdQMw9p1GBEraLgq7PLmtly5+W7heG9Y0VPZ1pHPlJt6GxLq5Rs80slG9UNFC3e2gYf1/R8DiWRN7vsMPberakFSwo7XVtWxoWcoklJeHwHKUPdawAGX1BB0NyxuHJiqcgAX0O7AjfKVQWalfnNpMt0PLrMIB/MaD463y/Y0I/7yXDkV8jX88Lx1qBQTU3b5NC/0lLA51lVY7mWYt2EKq24zaHQBlPKFdzLJHl8veNyFEMbDuFXUA/aVzqBCyZb+1lkM6yZcn6q8EfHD4d7YYSjsHei4QxAaESvPO5Jjd8n7WnBMCwpLAPf5I54P7nupIAMr0dgioi9TLtiaYxE1BesJyWpcjOr6dQh9g8zcBKK/0ss7X/qUcLkj7SoJuULRdRSWALRCE7rMozf6IklaV8opNAdNfLU3XO1kD+H9n9H45wDltokby+lBiCU3l/eYoqF7GiQuc2E3SEQvzYrbinK99doBzEVB4YrX7DD88JLoYR3DFMAue2K9stMYqO+8e8Kmzfl+8OZyrD82Tcl+lt+eZo1wF+rM3X1BFBgeu7E8nLZ5TRKMBhjXtCnVwXgqU0m+VfAbRFZUpynqmwBXPRU5Yz4HcnCCFEib596KLEzOFXikwBc6OxXGZ/IIu5vtvLJ891Yt0r3IrJHp6ZxPzabvjzzZ1K9N/alrsu2yGMPaDH7Br+Uq/xLVnXEEpKZLB98IpqUDNLlO+GvYPN1HXf3M4F777Lmhy1ZzE/ndrJo1M4ykdXmif+gWa2YAOrkbI7ch9uqzK3GA9dBvRV07TRLXmYw0qOqhae2B78edfATAb58ktYIKqV+eEV6uJ6sxlEs+LxeUB/kLRQKgchUtItQakv5Ab4cQXWSPBj272Iv3wwjKI+l4KRykTfk7bv+4RjN80i2iZLv4f61Wsb17M8CsTl6QqPCEz8ftrYMIWyJYubm7OkPMW/4iowCIwPtKB3sq6SAh4VaYaQAuqofpMspmVZCHTQTlD86mSlMWmGqKL59ME6Uau6Ty6vALwCawETc1dKBxzliaZyXN4MiPrsGrCx8D82zhhb6qhgKW1AOuoCJ66LPIVvZlzdrq2PDY577kNbWUILyjbEdDwYHTaPpEWi7ETsLNOvqIPlu/4BwrpiDUUuuyiW5QIxfaSFoHMcDlsiLitdYCDNjGgI7tcwVma1/j4qrTet7pPo+fozPDovlsMcdu351eucbFcE0GEKA0TZh3R6jyH6DPiV84yu3+BPztD7EaBF1G4Ac0ImyU3EnCUYlSimcvTl8oSAaQouoEiC0sPtN6dIpfj0frj+IJ8roKNjhqEoD0EqYtBjWEhMFYP3Up8rBgjx+LlV0PmAdg8BuKcVHZpqzbvPyMEHwlJrWvUbV38wipBumDo8UASfSz9JVlKj1JCr1shvC4A5NyMK4QeiFO5eGSUiSM5H51EQO30W9bW0x1TisFgtxqp/hmvy9kBtHCzYrK+DYk+qxpjc/y8f576OADdtjrgxEu8YVKg5Efg7bkUZP7L4qXVXqwVYcDlEgnPg806XM2U1H6oIQQPWssDV8hD/t5Qgsv3zsvj4NhiO1aMxDyT82NTDA0l9UrN4JZp3WZPtf6FV7pI1Qf03br5eTCvtHgoRcU5U1+Duwy5b4S0OwfQxIE2HuZHVWEc0TMJF+q0Smt/tW2xpm51XC1ts9WLKz755xPTgvtfSa/XetDnBeSdJk7HaPpXPnJHNy97s5Ugkq54jdtGjhBrCCPm6njDAKWvWINacrQbWzXuLgtLmJr3zfRdy6kVSe3Bkejla3TssRes8E+AYBOAjcoHZVwpN9kStTrSETIKe0iR2kgT3CT6p3OnpvX/BjlUExpvt6MuBPfY0by7gUmVgaJ/PlRGveHxXoDtihCCbBYNHg6MVFUQtf7IkS8F7VcUgx1MuWSQ77XyQX2JCqd5D8vL8J81akGAXcWaG354qNL2j7bi7T60jhnkzaCt5ppFPrYJPrbvpfJHolHQ9fB8e8jSsQGRoNKkub7COKoRukiEnjozIqrY9o662PK4xVTQC3OAv1dgiM7BAtKGxrGnjVLPkL7obE/xrzHQUIo/4Nesjgl4POWRgphqnBiYR/vJAJfoc5Jg09B1XzAmfdlB7xUmYyE38uoqM6BTpNF6/6FtSbzhzCRPSd/QinGO8li88bsj1lXkXfe2OVzta9WPfMt1JUaLaifv/Il3Fuh3vAxjp4rMl2fl7fybxaX2V2wJjaoLeywNrOBCDIFn8Uw068+n1KaSjdPKFgqhAR79vWVxiINTPHo29oe0bxKf9ySNrLCARazT1NpuKQNE2eHh72Fw9onsE559xVBvIPxzxo5AN3zE5dA9yOACAuokg6zcgjrVKXeb/iHR5THO1+u8Rh0Ff/mt9WZUbZ6+88cg/Bu1ol1mv2ZASKQjJKNdgQmQtYGRXMn18db9PFNFEYvNWjBZxVnuyVxQWJsIywm7RTHANRqBZ7tA3Od36O1qe5x5iQk1iaUnn+jivQ5tBFlFjkYU4XtWKkdSxd/ZRJNdSflzEXua+GIL+3XaSip67+QZ7s8zyLMAIewLUc+Borbg1uTIRRYND2L5s2lx+vi6isB/ovBy27WKVb3oaZp1IoSxnj8qxgdPkTYCc8svFz7glMgXz+LQY7skkCp7Kmxsl4T1+UwV2iD1FtFPmIiBIv05gwCvViPIzSAKKVsajNBLFZNcDcdgZU21BRpWoyn1qlX4Aej7rYJWR3ETggfqScpEVypusOczTj86or8wMZwqjH5j3d5U1yy5OZOqKZaNpy0qFgWaj3gd22M0HDVsPRYXhuxKScSoVj4DZVbccSR3qXsSTMZctG1ky6xgABeI12atARuSlVxNY3yVoc7JpLzIXT7CJOa5eHT86vrW23WXz/iZUZu/wh7h0ELE/kra7pen+WcksOfaLbZIQUMaTiR/G6xlneCsMnuAyNr78zihL5afyeFZsoTmw1ECDruQNpC/LERtbxfpvH988tCxNTRXp/aiTkaNaFSTrjElCFDqVKXUQxZL9N6NzwalPRhz8be+95WHlC67PwQ23tKEj3dTj2XVfazHhK4GoIwpEioRVRNwbvCtsnkah9Se5A5/Cx5FHJG+CGOPvLP196MAIAyoA2gEJu86pTXn/gFVrLeT4U6CRS4n9Z38vFNVKN088d1YWUyZzm7yX362wIwthPukw3tyaKO5b1fvZ9lIaKBVk85v0PEsqAl6ZIWkTT4134EpIMB61TfxDh7VHZH5d96VfTji2P2vwKrGs/iDt1G2l46otQtu9otaTSVPNgKua0M4ZJAJV/CYYYuwafBnxvlramLSREyuO+yiBpZNQ3o6ywHMH0QHh8kyDTyq+yGis776hP7Eoue1r72C6l4KQD5l3xKuBASfticPsEhridpd5LOySG+AiQ8jG8tNhaxahoetbGmKSA/GMh2U7Q2V47uPpgjzeE/pbeEHIn0dJkmRd52EI9Hu29RjmGqSHW5Fvxu2V6nnJukv0JczWPBbskvJm4/AUm1HTm0LDhHn0bmY8LvhGe0iCiPUKQaXeCvYs02iSo2rFDAMMVakf10Sexi3zweT16PvisIarXGo4AJYLbwIKlbtr0K/vaEUcexovBVeWmcrRsYbM5OCaCg818+WptdpJk9WEyadKWd1yAFliD4DY38tQsgRJ73gDAxaBb2R2OYbgv1zBWzNB6WM7GgOZNbKYpcblx+hGFhkdTjX9aNI74UIXcWwsSQMyXNJCIOfFIJUCugc7lCijQ7taYOCfQ/yE6XcseC21cdhM03n97m9+eK/Jvjt8XhHCtLoG4hYYWWDC5ZufL+9qTSbOXIrvlE9dOVpNqcYqTbD4T1BUuA6QIwSvYQwxrCd64npYRtwaLTrRfWbIcH4eKx7NHLb6dYTib79UFQY6eYwPaNH9aukwvSu15qdgT77eQw1rND/PYvPNj2M1urZWU60tztTSd745yMfFEym73a9BWuhEDNNdQ6PtokjYJDvzZdemHcGHTduylrX+znEZssk7VkINc+FyoDMVmuGF7KRe/Ou6N+yUOVMuLkGkszBV+2K3cMdJw0lDv9H4cDGuIuV8zLpBAntV5IAOsITFUbump4TJGYFmoukJwOklnWYRUpr09ozCjDlM0WLMp6FmbE7kMbUusXlI6zPATuRSNTdgKaEXMgBW7NqHFfubI8pewl38Q94hMpeXHK2LmCw4PT6h2Rm/Y+ksd1cwPDgEFoVzvKZhpFEeASh9MEzZFvQkRwWRdUTMuOKFNGHoV4bjPW1buZqoFRWRTo4NoV44mbhiPy9DMrkiXFUMywBrnDAc7m50YdRYvdO5ZEO5ihzgQO6uB6j4Lbu1LbrdlUoq9IVJtyc6r3K2if+ITOcUUx3BEmlKRLLZkQlRTvo2P23TSfk7v5SFW2U/R58H3dS17z9kghe8pJMw6MJ8Oe2UbJfN2oFUC9GnWiSH5LZJcmLVoFC8MlfqJvs/M/lJnT8lojjR32E3vIXSdlwRa2/9BZoJWszkmPvipI4vax3JIV5OmF5kLg8VDObuoULeuqF/Ht6uSuQhqAk58ReOKOtp84PvEeX9nq6HQmA3qlQLy0nFKAcCwBnP7Ro99CmTlEIetcoNI7OmN1JzqM6PUIGgZ0yFuTzRAx519ZXKyC2aAyVEeYlP5cwbC5S8LVK6lr77R+7r6oi6FWfTgCuUn2NZFElFXrdg0+MRgUUvUlUqnGDcQom/5AeXgezJoTQwunc10US/WAAeZTpg4vAi08OWKDVK1h2eL8BYStauGzEm7dH3pGiCs5QcxNcStvqsKNEqiXNRKv3TKWSI6htjCcYQruZfCa9WlwIh5zi3W38sCs5o5VdRDMNFzBRd0o9YunRr5VWF5qcrQxDf22oyi1rKA/FuToJ0deotgWIziw8SfoRMzAHZw6uDdP77JgvD4EiRsgb3aHEqWeruVQFELt/oz9zkVZOON0Zkg69q1cfNsD3OgLVXQwVFBdWjFhVFAEyxtIn46ocn4J74GaUUX1M0JUDkYTFemKiiTryMaAWF2Iiu6yJ/OHVVClcGV9WMGDXs9xoNW1LuCFrm+prY3ZTkZ+SFwefbzeFEqEFd6azKiqGoj+AqtTsctTpoyYiJd1d3XgCwRXKnRoRhHFveHyvU3SSmVpRIxJTH4LieyeLz8ZOc6mbmjHVuFH2LU/QTtD3+ciB9Mp7cTTSSWn23txAKSmepOfT8xzFtV1p26OtpSHVq4Rj9hH5984HczgXvAWsBwMWCnb0CQkvydAe0zWogIzhNckHNB7nJORu0p3bv6AlJMk0dYTorj7i5hWszcU5fVKFJe5YJyh8K2mt5/4P4tZFe3hxlAbcBIb/EU7AUnxnOKS2xPrSSk7C4Z9eksx5x3vKeHqoKaNPCQdoU9jrXaXGQveGFeDiiR3pTZTG8ePmfT4RXnO2bpvv+h9quRUPcuh6hmTt3b3l0Qm3qtIO5qPVNxBd0gxJayTnGXFx9qacjRwGYrpee9d9pL6BAlTUK/4aGcDtVsTAYX3guXQV1qb8ZuEZbOFwQFXkMftfOBT7tH0mKzkDNQyd9B3pJNoD+r8cRzBtyf6YdH1pumxCh9N1S+UgDjhUmXudxWokxgJvIvPhAa+AqjBRqalfuxdiUUA11w0juFdqLdqWszaWM2lW0MUbtsXR3PC5gScXW+/VaRV1zgyoqrf+39PIQO7XF2K5xWbUkK8a6p9MDy+E9zJSxtES3/DIz6Grt+DlW6q3o8oJJp/LUomFHyAj5l8d/jjssfn8DnHCLxZt9chY4Qs2g7fFnxnRajXT2ljIAEpMyBXU2xdUODiHU826eFe91xbrydntwlhRvaX9ggQn16T2lb7vhQg5z2JcPZLgW9ijcCWk0aEcIdvIFmhisR3sXxSKQCbjgwjkBMYC8xXo2na7H7uAaZ5W4KqumWzWCwSrQqnm62r4s3/64CXn5f9W4OYDDXKEUA0tHiZmcacy3GshI2bUzTNXI1qByV3xJHmhiT3cgh0/xaYal/ZwX/KZM881MdOaGH+OIgmIGAedoWm0PQ/oRcRkCAeFZvwcElt8Gfsb3FOTdiPQ+1GGkUYC0S6RU6KTQrNd8PWuPes9L/8TddPzjtdaJFQCBSun9PNgPEaHGxRPkkQC8Wqyvip6v6/lCo/WecSj8J4cLZU2lrh2UGb+CQlX2WSPLgbyhND84r9IejGZJ+gxzhbO97TPLbIASJoIUfKMLG8dsJ9l5CQ8JHvelbPWMcV5PcxKyGYgtzZUOopUnuc0KlDFVa/53B4q+It3ZmLsbw7QTobkT6LD8VbAweb7smWRaEqcGDmMXm4mssNyIPsJqnGZ9qBj+W4p4Zr6BHhLab181oXoACJ3CA557MtfgLIBfjjGn474iynRXLdMijTWdGI6Wg39MIn09haMu3X5pjbb4+ySYsO1I+R0pccFIS4tfmEOHIZIb4dQrOUlPeHXAkRh2YJMxX6E0BMqDFBEZgkhGzCPxROrshf7AhJf6A0Pl1RSowsI1hLvYG1ONkw5UGQz2tSDJH5XNwpgztc8RjfnxlQG2LBu4XOmkIUWM/o8UjIwSj+jI58TIR0b75aNKCqlWy7Q+fMWvpyh9iP1G2p1qMjZGtXIV7DRrp8zc0kL/kEPtEkfMKDE9Ofc8STbIncVIuRmS62NQevEi3RY9smBg3WTSvAhqYyrWZSpVBYKrmeUxQsHEi2oQOmaoFW4He1Vy0V7htrrTIS1U02IoekmdszpTev4+91hw8Bq6vK8U4Ag+Q3LW3hVFeV5JRvARvJuW6P6liLb7GNjpEpQMO2U6VhtlieQdUkMg9KhV4dg2fAxtqvIGstFtLrlatUr5HdtzkDjMuaT9LQHMMU+mzWayh04h0IjLaIkTrf+4iXnDVmve09KUlwJ2V3C83/3JIOHE1jJ7yQ7Jv1EA0tmXXcmJjpjiYqQdRSPjcFf0rUzKV1716/HGa0mmn6nv/C5o44WMXICgpcpht03FLSMlLbBUsixUu8YtR1Y3cWmm03exgtjfUQfpiIBQRBelMYWWRzvW/8OSqU6JUV4HDi2WMbM66ij1k+VRItOjaLG2Wp/535M7vs5U6J/twKpul8q8HKle3KM6Yb4tG7fKTaNMvVG6ct99Z97JNz1Njgn76QbdpOkq7vY8SX1usLJvGvFu6ZggsuO/jxrjKJ60k3iRo1Q8GLO+ok3k7CU9YVohnljHR2fKOQQc67O6L428k4Hq/QQYbdsBhkM48Fga6MH/WLleJ9C3e+QIjfi+RaiY0kMlrMLAZQNA9yu0M7SKsN/7S4wZz4IXg7WCWm3EOj5Ru4Ny189Ml+2wdF6IulxQrQex0BQqZdrhr0y1ivG1IjGrvr2an9IQbF4WLBrt+cpbfdoJ985PXS6XK3pWeYrV0OKYBmNeKP4xDgORff6Nres/NnxAb9nhU0to+OybVTTr2DtYl8gFJrzjRkMUGBgwnm44dmiB0m5RBO+0gmI7GPCo7qQuHkRYfF/sMnhi1wLeRKlVHIwKqcPj6zqJlYJ5ARrODQPrVILdVd2KLkca9WaYJBe46jZ/AqwW34QK2EHTKsyvrkrp84lZ7aJg854KgtchZaulhS0MnuEyB02Iis5uRvvKmCSNkLn5z8kNIKh3HkFQZBrm6/O2pII4/pPoQXT7IaHbRYV3vsNIz2PPfMoNSGLWG+SqCYdxJ37F7jam5j17jIIy+6wnHp0NkW7FaGDY51GzXkYZ31sKJrW9XcNoIklxmnQrx+UlLIqr6QiTK7XsSTWCR1l1jo1B3Yj+tYhfJLXCt+rxHJcA4DqGaMzbWD9LrNkjtNS0px9XknTeINjcb2+saRqTyfGNd7OaV1GamvohdBrdvv0UKL7fQw+1KZVQuULuoKk0FHXVmztwTHCrIO+JyU+RrbD0olJ42jU0q4B0uvp23xwkwaZnO9HqkYa+ND+yl2SXT7puMxUePgvo1zpW+G6+Z1DXqsVFk+Zdc3TX0eo0aaAfRX8zU8c+v987JYTaDFBriqbx+YYZV7Ajz2a9wUZ81PhqSGCCFQMQ8w/bH+w9MhAKyjbEjWvHn+x0QBK4OvWXGiPdmZeJNtyfsF7PU+HR9R0Mj2yTYbTE7aXbNlqQzRgqaJk4yM1JsHMMtneVahYxqUn8o2I2GpBWwq0c4Ipm8FgxRSD2IYarY0keZ99HzZZBhrreTgenUYBCqH3IBbJChp/FykI7TDefZ3k+1F3EkHnt7+fLKUB1kwZQGIKUlJtSUBAZtTqd4r45qdm2Cr81b4Al40glOjCG8Zmo2dB9q1rr9clC5y0hd1iJPpNIHIZ/ecB+QgvU35m+u4uwSO/1rU5r23WtFdz5s5eSdsfK9ObBU+amB9YTOsD9PCWRfSId/zAD+YYGZbrqgUQH3D2v/jxUKiFnlqjjJ7PaxaoLB4nCgae/Zt7l9FZUsi9qJeiIkkMQR+jheu7U6rDlMgRphkvxYqBfR+Zdn1OYBkDO9/CQwDD6hIwUW/HW5PfB2NwhcOWfZihBw0N+3YLVVHy/e7z4B54oy1FMy2x5Ac1uD2jysnmX0C26dAoKHvY4XoU45wS48LlYn+PL8+lFCO31ASlTpqo9i6ROd8SxEBqNDZRNoclFHQ5dsMnbcKDsFj4KGCzGjutViuF8H0bB3m0mT8WpgaDv6AvS3cZH166dEbIvrbzIO3FwQSD4hLe+ExPR7950QUwE4dcf9eq3s8FUTSSdF4Qxpo4Q5271ZX0SJUNKt6e1P/SSK53EUvlVUKyD4EUMuwj9BMngwCktkXYX8g4k+NvxnthzYC0rXCNi/rY6WGjGP1K2TNuzHyga+vNH9U2TOgxe+9VAVHadIf4l+9inSR3mqn4xJdJ0Z07wvqJRd53/pLDD+2O1HF1rs50k/HJ91uCZQCZoJggbgLFt2qljsw7JD8JUKfixqnxyxGCFBRU4wzN9jAF6JDgJrzmc0p35sBDlDkSWoviPjfrCMqKoMs7vS3pYiFY/9rVtzDobejk/OIFlA8dJPUjwUpUfVP/qY3jqx5Qfs0iCLodHZUt+/1zs0dT1kgN3fiNSCq+loKEdc4Bw6rt9/o7IAfVAU/M+OQ6Jm4HeWfPjZ5uX3qEjrdOBzBLckHUgZoWXeUmIWLmJqQ+MWmMhUmp6bL6C+8PI9Pj3hFvaL7ZzfAWsflTB9e/GU6vgooCanMa0cxlu8uMO59noPfwlxcyfR9OH8QR1NWKcWuehz413J9iHCyKHJYsQSTIYOepMxpyr0+9Uxc1MD8RCfRC6BHh9B7FpSPA+Cw+WpV8jdUtLkna6txqw9lPL9vpI9ht+UHLS0yUxOSv3ykViQT+RPYhY9jvoCNFfvHwwIxzKhw9f+cxCnAKJPssNPLv9NhpkCh97odeha+yIk42BjsEQcmK+k/K+lQ010vFyPrS8T1XbVqmtA4Dun5JuPtirWc4hzwR9W9Y5leyAhREATxG6uEAvEF2as5rZSa0nO4drlvwNIHFpkl8uMHw2IzufsWHt9XQwrrY4/1Fjooxe2xXI5FRmuC0YE9+l5+kgFsrXAOdqWpvJvAMJIGHgR51Bh3bGl/UK2+sM7jxBHRvjF9wGdy7ThdQQtxStrenZOQ9k3AYVOq6Ii9l4YvjlPpq731RfSH3sysw78LcNw6qHTP26asdDh5TpbjQy0jKm5RspECYvnw4oy/GdKzDMz2kK8E89SsnGi3ihZ9Nj9xa7T56Cp3k0VHHaSrGvY0lB0FElRCNSvM4BRPjZvPnOoofXWLVvuVJdYa/b3HekJNm4i333eXDOeOp1sOvT34Nsv5o4VrezPHnEqOPRnUOwBlFFB6g5pOczUKZQD4LZww584Hrt9musTLkSMLowLoMl24wx+2JchA/o7KB5VHMg789STZ2DbHjtQD8jS9CPGuEfLuBdnpu9nC0nKSJeDJbdj43SKp94PLJ8adVoJfbhdWZNpOhOEMW9/3OhE2IRDtkM4hBp4IoAAZ7vpWZ5snEjHvIHXOYjS6b3sIEWLkkz0uwaYY1q4nG3UnBx5RdGbilxa+il9DavcgaFfVl77Sfh9YLPTsY0GWGn1ic8OuUIj25GznenIBoU0wd01AKsMnyWXZj2d5BMeTeqLxP18Jvj51U6AczlEKSPyKAybp39jlzHeWEWZw9Dv4vFYpOoZBxJ+TQiFrv/L+uoMQ4UduqlGcLKJIjns8H/Ec2uNL9Sel948ZIiRG4hSIMfG9zPOXxabpu4IbVOeCTPBCx6LCAWOyyGaZvPZACaBiDJ4+QQaOzaqfgcVHAnw+wkP50lnvRSo3RxHrAQ3kxkFUhrEEEMu7Ec8NeauRCE49JA2kFvTiSX+bd+uIGI6F8h4nsYLl4fsHGzvtI1oYo0mAP9DBlx0D9ogs2X6joxLVKDnzCL18g7tVGX70JbDDhe9jZ/I1q7vvl0m3/gF0Eko9qw1LRJS/TukQAKNwvIfj4lX5g4WEOVDDSlO4yMKS02eapy1JmDwQkFTxGAg/1Z512iww/48oIemZyQ70RfeV2egBu774OzN9C3gz2EKcYaCd2aHqhlx/0ThpQ0RaIfoj9KiCOp3Kaff6ur1pIuSoa1/F8TwNJ6SzQWALInjYfkLgg0VbgdL49bdtyt/LWeBVzmiW9OOvqhhy4vGMFJEHfq9Jcnufrl5dWkV2oVzg8/bi3K/9J4dbHJs0NZQq4JzZ6QAEs0JWUnQmrOj+1e8qzVRADibVtRMBCB86uafekWUHmnPHUVG79QsXz0fuu5lY79D4SKiGAgJF+zUFgpVf5y9mijrFOlesqQ1ng8A0pu+6S5st/etXkrjvP+DO4xNdGS7phMS7Q8gS7wNWn9GOkW8rz1p0z2EZ7hHggyQnnqHua8oLHZD01VGKyxzKAD8/wk2jiVBuso6GPdDs6c9FbEI+81dgC2wgsNAc/Gjm2DsmVnniupzMdOMkkYuBIzaZDEN+pG26aaBx7JDdjWyhLSuoKyCm/Km1/fIRktuEsZnOG3nwanbKpqPJEYca5se/biz4Jlps2Tc7lfNpBpDun9f2uON92Z08zITpqoGQguqORD9+iHuRwUgCxZPcyJA7ekyxyVu5kyE7z4JK1wfAGwC5eZoPlsyLxUpTZ8z1Vrgo4G/KPNQ+lqr/ij7BJjyM5ILGhz+kOUPRq3g26zHbc4R484Rk2mjKkm2fri3Rvs03GdXgsY0UxHWwg8MBzBigr76StIHO1YhHrRG2Lv4/mIfez+0gloObK2Q8zQb09ZUhGYE4KDEl7FoJWOBOygmKb9QHIfOnVTYaZDtLrBTEWXoLQ4ibA6VmMebRkNcySqf1mDPNTsaduJJwew5nL/hzDY63MKljUCS0Qgu7CAeHrHksb9rcqm0LvYBHCJqnjW2YlCdG7BzOZ9XLdkaUzbNNWfzvSz3ijr0ifkLfM5FSjeHFtpOwal+Xox33b2BUpxmUet8ffL44OzyLGwChvxZHHqWNFqIIB3hRO9QqX7yB/YyvlaCbj8SxT9WSAtvHwVOCE53kuErS9t4XclrDK6BOHZS2pZZSmdLEOm4nXzGQI7y/3b6WhPDM4bWuZZX+W5FXcYAGDLVDRybx0AzdoVt6UP4hXBIHf+xInI7sWVvfvFpuGg2zPLHol9Q357RrNr/3bDjqB5d/O9dwc7JTOT1z/rUjn6OTRjVj5hqDeRBWlwV0LML4OT/+6oXCL1lghCssLg0dqvpBerxW4HbIP6rWUNVBKqz3F/aqk52VnWkVmAJrO0JrmvcUBzSg7pjCHc4d4JmbQ4v4nITbbsYvVv7Gy2pxtEBWIzq8HrdQhiPLK7DkjpS5fdrfdRwHu6FP95Wnq5PGKAcYncTmOeVDWpCbGYKesSAGqOV4mhKyFuXo1/GpeyITcCuey9HczjM/7TgRcPlxpDczRXNFYyHUp4MYJLDQQoWyyiSWAL8c1A2Vff1ePUmGGPenIfwiXH94/whS/5yKz9cgSfw+GRn81u0ivAdD/V6NOPzZye9M5QTerFM7Vqsa3yov7JfPi9LRnRcvGQpZmVoX1YakzzP508QLb/99thN91T7U3zkGVn9Jc9SVQdHZQ9jRTAxV4zznB2GYLReHUT0axs9fdUXdOqL/LhQcb1JCJ6bQYSQql5TYNfiPkslKvUW14bSMKTgyCNtdgGGQRX4WlwTgDoqlDjVkhDyllwvLxhz5Kb3cF2hglUZLf2yCyVZolrWQB78lTCEC9ftAuBQuElWYYkQxA9Ni1mTgZGbmKmyejx2qsIafCotZvSUct3rpMwnMQI3WUCO6qBp7+CfzmmZaAsmgTwUEqpjQ2y/jBrprRS+4tY7Pk7GTPE59Y9o78kJT/Se3o4h352RahA8HbHmcvHKO8hb9/4HUakCqSojUW401wX71JSRaPtk9/pCdRoz1A2s+mJFD/loifkEZ5d+LwSFIh4C81b0hxESgptF9uZmWTc7ucewICATaLNjPlR3Xxjm+J6n3XOzCjiFhO9T+XJSdRkihHTGA9KJXVmLoFv99ihud6tT7P1oxtjFLk9A7JrB//6RmsQuaQoEBCB4/oYT1d4rOsLYAoBharpNA2Z6gHHcwSXRhH7PulUteITGVE6S2YDsTAqpo8dmTo9RfUamiIgYiRGPFdadd6kr3O2wNf9D3sz6I4IyVWVXAC6tG/xjoPj/N0DBx5PJ9fw1SEsE7m6R+n/WTDG235st7Dca0TeQUeFqS+kxS9q5rzwufzq0JkUpBH1ws/OMKmdVwKdjiSvv4v8vSRY2HSprCnCnSOvhXVhix5wUF9fxxhYI0V/dAniRRu9UK17S7RHA/cU5IEBLfB4PHXC0JV4VyHYZAo0sBNqjCE9mISuqwKItRurJQvUFjuLF5VXwaOJoldd2oFLZJgK9eVEaQTwNmb0GAuY3uULCm74K131vn3F9vZlDXthFn5jZAThfk4t/HbznXCQQorLfw8INO11iNrtxBMy4B5EbAd0Nn/ZiyOAR1NxdjchQJpKF4sXno0ri1KOhhrfu5Yn7ov5P1THVnajRBQqfsN+uQyAJyTzTtVdXhm/8uTdvCc+t4FTJKF6/2PBSdNp0fJhuiBT5XNocZVZN7l4yhvq1B74dI40U4szZ5GkX6zOPdOSgnCJ3CMCT/xWmspLcdipUOJyZwXiv94IYCDqIXfiD+qVvpSyvxJuCdTCPj/Hp3WFGk6YPp3R7tzPMG+zHpfu5rH9UzGZ8gvEw8Gdwsdp3cWuDBj9B56RS+zx7bNT9tt182xh0iLxuuHNSq27G9ojSNEhsXLCayt9lU5WqXTtmBSQ+gPRTF7o24WN7z2ku6iTQ+d87xGqV7zBp9MJZu9ha/b5a/Hy9R9cmyRG7Lyz23ctyMnA7YFXI17E0Y/MWsLfLXa7OuOOBE0jrehHEuIDZsfJ3NqCi534N5FjNAmDCQiLMf5bsmMCo2RV/7yoj0Q2FnGiqGO1Kf8nz5tW+IvfSzRJoctcooqOMtUuQF0aOZiqc5eS9lenLNfpZ5hrlkWWG13LjLPvsLrbJ2WGIW4kUdQzT/By+dc7oTSTFykvZyK/6tNtlDRwX+BZnXBFbJuCYREYMAG7qnXOi965YDpm79VSfLi2pO1EjXl/JQU3nCtagC+eoAfPNASwpZRkIeLzlYqO1JxHGrJy6if8lg+51jvhjH3RXPwzvUcIL1TFkGLTr93pI3n1QhFjFkAJl6w9UnCyJ2geHcd82lczxxKrxsyUTKgDBqCTxeVtnHxRuiqFfbzqyNIxiQSkWXq78y3LlwWretmtZP7u7BMh+GrACtnOBiqILJbeGXQHT86njTdhbyxMEf9gw2H8FTJMeaU3tbLUg4ay15EUEY5/dnKwSssLYwZ65fhjXvN/My+5Rtf+rM+4c+ITSPrQY7zRGqouT8R+fg/fiMC1aVlNBkU4pZ3UO7tUgHSAHvt2+ON5gQAOZzj8cO5uz8K7vdVaEJXjfBhPk/E9Nu4Qf+Omw22SRuwfN90S/v8jxEP2dUUFjEzqw+fRKJizQNW/LlN4iwGxAQPzn/Mj4Icw5IGRE8OI2y+NgLNBidaJXoSsA5ZViXj+FDv1c/asDOyp1hqEyxO3pGK2Wguk6/eIdFltPqnhks37UCDIhW+l0sbZZxrfX1V645wimsWV7oK1eiHC4UssKL0LedISQWC0ptfQNFjoNW3mbkl0YNhWASzoJBPonYU1vf8a7hc5LRGqptDfkEmWhhZ1k74symZRW6fI6Y881+vsB/7iTLi7GPoy3sRNGX3+bDRfcF5R6BZpPu1++hhlXoJg87FgljlU0n2q22uF/cFA00lTBu4em9jMOjP6gKlXSXlZERVR6AfLdqvFY0tCzZ/jX5Q1nHoxjRR0GeK7e5IWp8rcih3PODpDZpMerxK9avV+ovNhiDtt9MZGL9HRRq4OxE2rvR8l+4IflHa6r0Rnhl1ncDZ223PDLsk/4kbRGj0YamcQt9Cl6jTX49dBg8GJ1K2DUnt587RYofiKlNVlxurwMFld4vsCCXuT976B9NPQg2WHA4ZvQ9uEGWETjndSPZVvTfCueh3AXrw8hzCxLnZZxbpufjoDXPANOzZtoIGOH4bH+hFo7pnnAdEyob39luZt+GPheLTFF2YSKdn5alx2WgLIHSx9OnYfT/SOIXvgFMlWeeqmcP8lpVOOJZRcgyKh2wTPA4bRCYVOxPiBVyXEiS8E+IESDdgXZa3F6QvVOTgvVn6Hosat2cPv9m7jaF1m7ngjqvH2vDDQTeM4gLLOvMDl4fZ3hF7jszDB1MRQfzSjjcnkgwgkln7D2nL1qA06HOe4CFy1hCpCypLVQ/DuVgMtFep4o6EoaVSIOsNpV4RIQD4N1+UnA2SXlPwJVvejHP26ojAHYWPQ5NKvB6+P1kiMbj3CJtkoxnSTCzs9BsmnRdQT6IRbkWV/ZuoQ9Che62UB6TNe4tRVX9qacCwW/B9wQbO+gvQMIsoAevz+sBdo8ziZTRrUHw0OO/hECdFgaoNINm9sQ1vG+iJNkatgpcpAiEKpmCuY23h6TNaqRjKNz3S5Mr2XLUAUNmF2Rx0jqQ03vVE1zc33hg4UH7MeMtZ0WRib22u1WNV9Wphr+0ORyDn7algjwUQj5lU58L2QYuVGkx334EVkE2K6hltMq5c/qBEiPXIXQbEdMyfROSxQpJC/i/Vwp4ng7ZdM8Iq2kofyL0oIGHLUpHtpiusVGjEQGTT3og2k07QVmnjfHDShjBhLj8S1mNj/TlCfrt7nHkFeXyoJUVQjsfAFPjiwI4PBxerWwt58iVbfIAdGTwRCd5Y5SesW37ZqZiWUkBW0XieCn4Ga8RHTCmaI1vtwaoMCYH492BfU+NRVY45psSrRqyLj/Y9XrFn3P5Nb1ivnodK7KSJl688JcXj/h2zoeot5uAohQooXbU6jJDfr+GtLqqROoElhRwUGJzIWfHg2MFUInLHAU4m6FsFcn6s1WiRnL/9PWjyaErSHJjXDapDMKfQUogTUx5qQyzbrLKafzpsdDjwG4bM8REvD1ZFbSaXjVpXFpUt7mP6PZh4Qt7W9z88/IyaZi9QnaifC/Bf2iSfjVcKUAro3u7B6LsVSSK1amQSd3PROXcKeDf+aH8yUUkVRffbK1Qdgq4G1UTt0J7h1aYlAaGUQ7XAWa6I5VE3GBe5ZDpWlRRu/+iUKo2yKl1iIhvv7GRzgj2OWa6OaB7UmNgj4KMgKtTesHSGEkAWyaWjYE17l5k/fVbPL6BsHq7cAHayiv9+DdWlq+JEJTNzC0bNAjYFk8872T3FIzwUyLlrXoxHNTb2NNicz9n50AyPnImZWs3RWh8ie/FXUhYoIkye3vzO87+sieNfQIC/XIz72ezQUdhSlRaa/Pu9iksRGy2X92gjIrtUj4lKNPmn/O+A2jB91NePJ3d/3/328RNbqpist24ZGL7M6zGEMPsKp5WOS6QfTz0qIiUgrNfHZ9UpS2tfjzXdnNtX5nCfANR0JWNTH6kvc4RM/9JqXBo7Jyw74dtX2JA+BXRO74Z/JZkOWo839AwnS1uu8lDJkgWzSoIkgWXL9sUGzjQDxwgFKFmCIzAAjUwCwAclZYBJqX8T2Od9zls0CNG9LSvyRlNVYkx72xhBUmTa2DKpeJmElvfQkfl6sPlZUyyWzcTbMzpWsocWTL5d48iGRTu6Kb3lwbDhea0HBwGFvHBC2R11zr+j7vusjU2g0PF3q3UEXhzPE/Er2PIxmfPiGgYHpC0JB9A1rOF7btBZTfcPfI5N3cHy+lMqjr7RCsSggufmA4jIgcH9w9w8w5Wy+49a23eG2V6in3NjaLsgm1CGpAqqTWeyoIy/Ge5EanCJMwbKb0yJqwhDqxjRVPHdNwKr5NofWvc1efcumb/x2Kmg+lFdWrDBF7X5/FtR4KxIPfTWlxAyNxRjX+dIXezyWTC2T2zm/5fIh43E/Wcw4H67GIdIoMnbdBrcrz8FznKjRWX+S1QV3Fwx+U6rwjXuLPuPpYHIv6wKlDy+Exh6bWL5M62hNPSAQ7hLFe11tcxJsZet/tNT54ra1uV/4rQFhp2ohKvQ2vChAQjUGG+Wk8SIB5Ni3CylXYDKcwX7LSVod5t7Hwb5y7N474jQOA4mtdIS+hrMK8/SKVVLa+GuAVypWLUImC9cu9b73MkN3zZu+Nf35bj/RF0oCrq7P4l6KyZWwbfRGBXB/LJEM+T5q1zPwWHRNZy1bSJDOtBHsHfzmFvPSBpGBdNyy1NKqYD8Rs/3BbrZLQvKYPE7yOAZnwA2BQWY0rvFwRIkZ/HI34dXoRwviosfyyRF6pPFv4YhhULyChhdClij1gFuVLxSeEK8xi1ajNfnBOpokzsHsvY90SOBbxxYAtHjQDh5X48ysEw05A2HJqCueeqvjPEWnIjDdK8iFN2+UHLKdA3iidl9wg4oUGGt/fQvSplsOXHeq/W+dKXpwnWUhGRdfP7cnx8m3BGxySv4gv6eSD+nnX44spZ6zyTFOxizMbN9W8ZwXRTrzm8X7iUNwy6KVQloOrRolhX76gEFR1LYVhiEZiNo8/gEIh8mPW4PGTQS6z9URxyh1SyvkRO+Gm81Ax4YEdpBWOjIGPjhUOTJvHMq+qTZw0tNSHMi0/yHLlmnjB6XaebgpC2d2gVlgszRBC6y2VE+4swxA2OOr3jSNEusuHRqz0FOkchB2RQCU6BdqGFvOGxStKXIRvNhq08dcy5l4AguvmgtNeuT6uBvJqpVishG2tJNMywrNm1F/tNI5N0zHboMVQplRB3yBXhPCupucaRPRpKK2FnBOb9A6TqKpBxqQNkhjOzRMetaZc5x6O7TM5eEs14ypLwRh9J3j1jntwmGIeszmnj9k/ExftdfuCK9YMXEWe1liOuvVa0guefpS2bcl6U5OYU/P8G5CuqNKjpnlodNZo2cl4fG6HN7xWmeHjZ3T/FLlVPGzhhUFgbB46aDpPkhW7ryXUeu+dG0YJfnVFWExcrjO5OZjOXyoZVfDlVFB/6M9Cb5DLxO4RG0/PK/1TgPLJSujjxb38EEltnCSoCeuY1t80YBYK6nsG6zyspOtsp6k9dOwEB5w67AhXsnZgTWHYQ5CgfIPZ2+94zjmnmXTqyllouKt+JBTBg5KZk5u9yHH2P8u/qYXoSzGB6s9lO/sX+eSEiwLEOEQ1jg0MWHPjtZ3MYQ4PyiZ84y/nrmzE2gxGosLJL2GCp5tHkAGuMZdTHMHYKJblsYWztF8G7tiuUQhiY8g3o414RtS/s7vIrXW2GsQV2ka/K06FGREb8YlV6LL5qCgTMJ2b1c9sHpd6Rqhpk2Ztxoh8SNNYVSokFz8DlhaUfpYxWAgukq70LbqTSV/kzamkFRYNONwtUFIwzqM6dLrRZsboyZ+u7bOQv32rdlozMOnGJC8VCyeaKRZYYfls/s6uCXjpSVCVj4CcYaFkWBzD2nCSe10z4L0BdBuB6hn/0hwBcQnqarYxagrGHNl0B78cxFtBy+mApZQ6dVc78xW4S3EO2EauLP35BBJWeb73CApNW1uGes9DUYQyk3zrRIR2Wo1ymy87XKLdVSGhJGAV89wqiv+69y6MV7Tj/9lG2zeAZZShiSIWhgnPoFzHSMoi5/0ru+m8f+LaNmNVJ8VDFg+k0d6S2U4rQ+Rr9PpC4znASxwN4psOrYWd6GgG9MG2IetLh05+2g3+N0bSIRwtZ9KQoJpPE7AzdGJ4uFFVV2Tk92yrQENPcqG7k61kXuP4oCqEHXKcCe2rORWIMjKmElCZMCEk88eG5YhO9szQuzO62xxRE11iS+D9xptalOIjiB4EbASBUARFNVUE16GunnPTJ2uLLugzbVpPUtACPxp2bOR4DWgRwCBs0afpdeTll+e1YZasaPy8gP5JfOMoOFB2Vg2nEa5Gfb+YzoCIDgZe3jYWjt6ks5WGW4Qlfd041kDNuxFWiduEWTd73aD3uXu9q/bFbU0MGmpNUQcPJWdMOgdxePa7xOLJ7sG3aT3UmqlMnrquqo9477YuvuxxmhOEOfc9w4foeLQibVA8fdz9O4Hh8PWzYFCtSBGHebr+1+WFOqeb6YXRzlkN2t2LnIFCmdX1tWRTLWhuVowhGqXtIbGTIvIaypSyH8W2sBVxHTcm636qXXIoY9rkrw7Di53OHTthUv7e9WOgk9YKlYAWkmw0Uz5Q6PC6XRMU0oPL2Gxi0DWsZ6gKN0W/ONmMFwol+4aB//EA43sGVKVphgxiaG+pBZ0gRo1OxoCTc/oFJUV4JY0V1CqtdXiLM1ACu02Fot47gOZIlTWlUIpfdk+QzPWaMGNQn6Wb5SJH9MlMNYf2H6DLjzQOvOjIzOCnWPkNOmkT3EbPEQzf3mWci3s5jau43UFO/gQmvh1gEW3fvO1DIawIo0O9qhNEpm4T4RnmuPGtHByHJ8FA/FxjkI5VMIc4fU4RFSe+ICMVNfdjXaBbkq9sEoOiaenoQPYTdBfBANPOh28Gmyn5FvQQku7V6iKoeo7Un+j/4ThaMk6RCyQ/DOXeB8yJl0YqB4EaLXkLjVmUhETlRMxSpOl9s+d3wWmqNUUt3M+4/2XAU95ppsTrlZOenM9ridfkFPj1FyBTdLAsjV+jG0TQk8DdbXSSDlm0VOGa5f2DjWSmGJsDSVuOh5qPXqqY9cveyxsmoLOihhK4f6dQanuNFnPC96aiYO2EZdghsf50QW/coF6b0jkVuDJDRLaCl5wg2KMGUyFfic21CHrAfgJqpQMMMW9sKJ/dQpfJYtRl9+K+qUl6dlHHJm0WeBjC3GCaZeydigBV+Qh+OLm4TyADsesSS/RHzBXBKPiyrcbdSW1PngmA1YVwL+VOXpDzemJVxuK5wXBrw+Jpbe1T1a9JsgV/XOKOzke0ySTYckXsiMP6WPzQuYJ1tT9/HDQ3O+VbtNEbB9WE7TAjbruPMR8O1pqsi0jefYiC9+Ua/ukGHpnm9IQ8h2j6P31lFftOq0VuS3t7jb3cCyflwwf62HLVOTyLx5lbEoHeCDdfulDPNrxE+Q3G0Y0kLrqtj+2w/b8CJsLKH2Y5Nr/cpGQ4joCldeh6qe/CwBdkB5PUb0zAG5sX3TeT+B2SbgjlCtG6CiQ7blWQm3eY4GfifON9hkz2Lsce6c31+h8+oPnuTm0M47v7l5BwA5SeLzCDvE+WqPFHf/D1i6TWXGL18VvYKTWjSdIV782BFnUt61YidkKM1rpXHmAk8IoPojSxRji8+WDGn01Gqpqj/c5usWTla0lO3iHut0rLz0PaDUwsPZsJyxxeFS0vg/9NZ4aMbhAp5YJEKrfQ8MYPdkF7XBXMyhVRTTJTkJvqfOd2ETvEmMc/oEb6S2flsghOVA0H3wt5zljnPMNfvFn1++c+lld+UsM7hxEU4UbDpg6yiukyuiCYJnhfh1uyhX1uw3ztmJ0YaZtLSi4hGhgONqGBMYBxAbGBALUHdz3H0Tbww9OEL821+YFZqTZ6yyJVou+vMX2WFVrOJeNKQ5EnhmjGPVy7T7Jgq87J7z24+0kCx+rHiWFNr7I2PuIujpLNZ71Q9POT0Id5bEzOpapb9Vj1ROFRM0YY8qL0yU+OVe0w1g2zC8zptsYU3jvEgisBRcK15RhxqgYehQVRnqd2CQNNesCigtlyiyi1jk4HqQznriUtd4vINEYF4nefbrxt9wlh2HoX+Q9Zx+UaVKtkaJm9wwCRQudIHyuRQV9QYJ0KQcSHDzrR5fqIHO0AEcWHMia4wB79jftI9ArfQsTbKRYQ+iDapw1YmjKq/8EZxJVqkGYLygHgegIRnhkyON+7mv4vlilTefuYZmvUfGH9UXG5qJG4f8TnZX32hD8vbniUibL6WGa2cTRiwQ7Uwu/r2E1PLeLJJb/SSSwHIOL5sMh3xsJ/rYC+wVbnkaxCkJQTXC8/DK2nBDdhZGSToXN6HiFKIaoVvQJqabrds4tOgD8oyzNPgnruFoRT+VnCrP5kXh2v0OsE7GVZoOElE10BGPiH034OvA4Sz2nRSCY4staJXZYKDaxj7hxVKHMXsqt2DSXg+Jt+kkpzNtIWIzaJGtAV6G/ewGiGnhTm+WxqehocPaU4JLf/2l5N3aHd87VQXpU7f6n/hcXWFJTxTSIEmjrqdNZt+A7AxUKj1csS/IXOqDeQOt6BSlgmAtVycUs0xs9OG2hPmnBFHwcKtaCcmHfXWFWP2UeVlvi2f/ork0Uw7v7R3jRbfD/JAQZdVQdc7nvrjpcAIOnpaSZfec4IR/gdUcUYn4pVu0j5pjpTC8pbCWDzzPLuQ2OHPrB+A5jjsmrW03zBXGfTcKx/4VlJ80NSzpwsbNicnTwXuWUQqQlydl8AM/wPcmLMh4+Ib9mIJuqimQUGk5XdZgAVVR3xXZ+yVtLbomz0O2D4YaWPPg0D5u0r13SM42EAiIfiU9sYFsb0I59gDLkwWvl5usHBJPtyG/PMDYCcv53NHxKvw3ozxlPylB1H9dpVYjitFdCa311Ejtfi+N17zBloWBanKLV9/Maa8B4dk5PqLCHDXPG8/Z0n5J8POoKWnVpRquiHpeS6n4UKDa2iIjtfMHVkN4fjMlWD3lXnbVZcpwYyIEvS7ozUjRm4CkBRlPG5yZWlqaiYUAI1t2z3OYy0uewG4Auzb/w9GnrBD7mT8/cR107vjJVk4uZK1DrgRJVYht4OF40G7gJ/OQRpX3a7TMh/3eE23UV7TReab1t3jKllnvxjTzPB4Df5zUaDiXOO8wClvWHKeekwNk2NPgWf6G+yQ+e7kUgQzzJe8TYGiPmz8ekI9NQyYk3pIjdzLnCBksxccCSUlMJs+HvdUtMgt5L71+BRjx9M62OEB/Ruv1E6Zl+oYb8OGA8Wej6b3VYbxs77lvHITEqxcAKICZww4sB29owUoqcADOnpl5F86HoE0WOl5D7PsUsKDt9XBJXOUcLmOXSslgXoDi0FmdYRgOj9bQF9Bxl0Byt5m22RalNNF6SUCZi5BIrDAxuUKGq/X603u4IjLXq9735AxC/vEgVjHuwHlvESPR1a0yENuLIJl8IRk7kikLvz7zSiotzyZAtWzqTYVSeeYnosPUtPrcx9pN/MNMU0T75vDqSvMAc8DUq2iHfpYYJt6QFcNS/V4SqApWWo9lkgi7CNQn4xHsAL68UpX4/OH3+DB9ZivJFk7LPK8WIHu/vMU7M66tcYq3LqRiayvHOUFnFg2fiMwQWYpFxANPDNzues96aICmHIb6llnta1JmlP3gUIhrmngLHz3xEYHY2G+sPPaO/edrxIy3W368WlOlJG09hXiKdAOlMseIAj0RIjzoZdv0ZZGT65K5WfEWXz9DKzDRcCbFbDnsULlaGBoCElzthjekvSY0n7EtxHAeUmzG43p7uMxxah6I/MCRBxWAm7nbACZx/YOQPUygpaJ1KrO+ttpWzxnJB6Oj7BgEHci9Dj5fDuzs0f8EIgepxJQugeGO2MjZISBYEvPmctOWbHjfBCP2aBbMf3eQ2iuWPXbpOb/eiJBSFLarz1AYPh+Qs1rTDyioM+Ucs4R12W8jgJx4emu17hAtZ7ofhO1gVVRvfsZH7eedUf+p28uztplV0Dt4IFtpqwXUnrMejvq0pkypWWkRIlGnIcTNCydLEs6RsetC4mjFCO9rZ0IyMPgryZ8RaiFES/aNo602V9UcxXsG+TKGQt1oTPuOjb2EWG/Qt5495nmgBAT0C332eVzHAlHDNSsBVldDqqbCLTpcSvdd53hCn9378pHG6+jnx9NQZmsApBit6B5w1YUwDfQtbVGAcwl2J+EHFGBUxoqnWqs0SmhSj9N00ZbIz7F6ui+G0x9wTE6wHfysIgUnZuA+dKI4dJO868DwXACSyYkMb4s2T9YcXMHQ/iL0SWFxHY3FdeARpfkO2rL/wFfhskCiUGD82GCLQ6d29bY9NalPDEFdcjzPmq41jNBMLvJRJM4mX2t+3s7lz6mgAMHYlEZbbbBr4NgdUnR1rxNp1fHlkW8+6lhgcSkJ01za4yy6D6q+xnDHtGNiTMuFXOH3lFYm6cjhgtxl7gytkuv5tRFEvhYy91JH/JMaPdsj08iTOaWvLsG1yGH9tt/viF7I86pH19j5F99Dj3g/o9tMZxY8+G5w2zpeiNGtXWEUxe4cVQ6CR2hqhfpVHAHbf/XHyD7xMTe+9lMaX8rw9rwlk8y6waQi4xyw5r96UyzF/CcmzOvqi8M9MO8c35GrJ4BMrTOODrUcQvsrZXUOU79F2pzrojx1MfsPlKFWJlX/D+w1lKWb5tJn0GZzSMf2Xw5syH1d3HPOgmg9jl7lm+3hEFUBXi3tggATPm26gSLj7nvINmviuB8ByhqdRDACerYCacobP3dgfGKfKB/LziO7TL8zlmNknMR2/kuZ/ykHXTv8eCxXlZ/+DElsWOG5qocTq8MOLD3iPfxhwPle9LIjedBWSX9Lrlsk4emejy6hlS6EyMN+lMUyIHLKdHq8x9EqSIDTsHhMm3ae39RocmghKeJ9JmUaa/COmLrqrREIr7L118l/mq26J3i3Ql76v12URugC2j7VYT8jXKcP9wKu8RjpoKeWdXTRDix0aL1/UDwm2N0KNJ6b5H6SoAPTrI9ewZPyUuEU5C3YpI5MJQn1T2polFMYQIG4SYb3UF317Tz9VhZSQAaGflfL5NhPXOZPN/KJldr4cQV3IdVg7p+W9qkqX2bCPzct9fqsNvE1D5vXeZQcoaM8aP10ZaYM+ARZ3ExQNKUhvrF3Wf6a4xW01pbxs0AK9we6hFz1RdjB6L0aGV2gCbYwv19GoLf1+6WBo6GwfjMt0H9JCH0Y525MlVQMOi8FyVON2VLVgT6UX9s9JdzpR8kb+jzY4aXWTt+SXV1nnOpt7dIetU1XhkeWkyu4Bi+f4tzbuXvr8G1cJSWByQ+cIasM6T7bRUXnLkeFd2F+uz0/nuD4Wx9bMgaPGRlOBydXHoZ1kbwOwzaU4fwoWju93W1c4XAEYnKssdyS4dyTf5881zckFXb0r9ovcQVBlHEEEf8EV0y1rNs1keTNFls+92e0IBOFRvwRTZNAgMutWd8BY7nme2NVBs9FkFBNo9AFT7jfNbNhD1WxJHceeuztaj4VyXq4Pa9fde7I/0MD1vZyg40l7q6L7IAgKyL7Mam3B2XIwSemxrIAWWY0gyAn2b9NMTpmVwuLbdP38DTDqOUZOD+KUI4XCjcDUUsoF2KcckGMqexTEq4Wg1jnfIxLE/rq6Ir2EPk5axvQLAPzDdC5CATQnMbkVytNnWzFijsj97u23rae6skBneVm9+hmGpUe4USn8pHaFZZq/Z4VQqnk1xggPxGRHh9SptiZqqAmunq4Lq2+VYusv4uR/WiPxkl1mpnKHpmYEkGMkj8geHEll80yJ7rQ8vAWDCy62NeTi8i4wXQIke2jnLyo/jEYJ7vyq92GaxEPVE4vlRXQcfHoYS1eUFvL9zm8zwSUJfprFwPRWoHSFcRVXmg2VO8udEUbnUTCRUGyLusV5CEXjrVrsu1S9NVfDZQZXC8WH9SNZck9JxZ8lW/4wKHvy8IquhFJQp6P2DO5T0gQKkBSw/4Twmf4pebsM9wP/SRVwuI6S1+BrkDvg9Pk5C/2Iw3D6kksbX5FOuiqLltM1LLyUGRF8/zF7iROGYPSk0ezVUp8wu+uKd54ysw+1A5LLxHn9Gt+TECWPLuu6oyFnqOVVMh9jCFZtMN8jnW48WV4vNTArcLuArkNi1xNY6JEJ0kj5u5eilTVp7spmFurCwK7VE9ttgoBT/8lLHgm4crXnnQC1FL6sUmZLJKA1L85gA0hT/nax5oD/CBVDT6K89FBDqQMSPiJzT2EOk40h8Z2lsQEdhi6a8HNrK32JEphmoZx/QBzvk1A0zM/CHQUN2cWalYmK8j2P/5ylwj0zZW23AoK8YCerBthlKIF6P/dTjerELchtZjMrXvfNSQ2VDc2R7RH9uHttafhp5R3Dg5bSg8QqEZ0zh9PGxOoPac5T+ed6zqT6+v5DY1uWuk7uKy9MFgW5J5+vazxvKlHkGHjwP938pUs9Dfumk6Mk9BGDd+d6seJYdY9riCBOVjJEZg1lUcFbgbH9mBgJQ8irqmt08mMrGBAP9fWV74ouGwN97Ty25Hj0PvXrmEV4gYRRqEBk4HbXUUVhyGdkwgzV9mluwr9nfhl2mpVXWVnLMiNXWHroOhEjJNTah2BZ4jUiGjNc4Pz6sP8leua9Zjq2ZjRjz7uMr/dFjvB9j/b2+/3+G+HDqIe0PdcdiosEKKwPMkIChTdOX97G7l5RQnxrhLyYqgHhcbOZPukFvqIflCmQ2MfRNoMT2KpGZVe1O7zCTd62PIV0oBfhbacb8yxijDMyNk+sIImGrA4fMyA1HNFv3dybXeS+jakBvVonw2QW10U4Hhpug9Vv37S6NEQSpCs2qQJ/ZMhFOiUf0t2uq5XkxY6f341RPm+i97IZ+blYcnzaZd5m7bitotuY/0+VoqzdmYkChzoYkJhuIstiXABOhV1+S/EPk3XiVade9ekovB/RFoduyhmggo+LV2Lmv9vjv2CWlZXlKettS0LE4AtwAGHhtayb/FWnE5kBl8dtItZJC4LNjynVe1IgN0kqIXMc1Sz5/2L1cSfQpxm4iFp8v3AGUYlR8rJ29KoD6JeeAOVnMNLtFfknArXes1JWy4zXUfn0fHTd1u6PMNUwobnbX+jRJga/p9AWOqGEJqeV3TXm0BVAfoCB1Nl7jKBVlk+jSDcSgRmhaIx/9i0GIN0V6HtDJ5y5te6CgBE7rrdUmh3WJF8llWoOEcS002Z5gTxq4NJL7/c7sdb5KH1GH7Kls4fZ3srRLynOYuWIAxWMRprpDBWFNkniiWbkEvyxV8Dmn8KnVlG+fFurnbeAuFk1Xsw0OOymRucOoBPFZkGFjqmvhRigyaqutlxdgYssbS0KpsKmMa8fbdLRfdW8hqNiIoAiFB5i3fYwd1AG0Uq+hluYhM1qdfsH6us0nhyXiTeMHLSOgPzpCYAzroVOY1iyd7lyR3gL6/xPAaRKC7UWM8auNDqksMe2dZbX9dycCUngKaNsSOK/3NGW2MZRAdMBBrV+6o8n3dRPYD22oTVp+FCGA+cquzOZR1TuOqBkaw4ko2UTusNNBazfS8MJpXgJRyO1iRvifyUYbJ2NAYSYLnJjVD90U/IotnSA/quzuz9tIVGrkHQbv4Vafa+KXlKMLmd5w2gq+PWH5GREKofJG5ObU2Cmtd6AEoynOJOO302aen2wD+DRWi3TPPoRARSOcSChoavitg98dpNlpFVS2xAdPdE0CgVHDyZkiwpy3O+tvGtNCAcl3FFcRtoplNQWEn2g2g3b0/wxx4zT0ucRJxQsi41uVTRus9uiVYkq+0C39QnRALuZNsjSuR9CtIG1MYxZWP+EqqNqXHagB5AjqfoBUA+RlhwhNnSivl0Tl19AwZtSPK84JPMuSrT0zUhCfNXA05IAtcfA5nx+hkYlTp6siK+6hOjjq47hAeE6q9eWJgg58ONnaYHYK7geeXtHfxkE0OkeEmfH1wi1mh2FhBKGSzQxJBK/84ig++fOH+O92HqXbmchdsz5BmQpO/ZZq6v0p4IPEXjWn0SE8GyTRwY8ooJf2479bl7CsgL0mZqvHXn+l+U5buaNOmhfzfq7VTlTRniEkY7Rn1vx7XxTUvDRPbCNjjp66A0M3/p58k7x31Y43jema2WF3ANRpsi1BY6/8z8nBmoSlzncTO2coK/OYDTJzdGj0RxYhCh1Uc5KIjyzhn0eZuDYvXsbvxZ01FtteFtp0CmWEKzZ6i35d8iEBWzMwPpFsbAlqnnlfAya9gQRUlLzaSR2EyuRGeP6QzpXTQ7M992fPsZOzU3VNLwLOhE2zxANQDcLrOaO3P6P8vXW+WFVR4YVq39WqCsqwA4i9dwZsXqcKM3Eoo7L4riPGynEXFdaXE5y2YRTeGZFPX9YYOoOZ3CamL2a7+9Fh7YUL+CtnAapRvIzUaQtK5arbEetVMthtUR3sFl+1GeJ/BSRv0NzCs4eRll0j8REx05Ti/tkS2CrpAbsQfPo1yg94rvknCjQYYL5TzMexwwPDmoiS6uDNCaPbad3gz0h6h3FWRddUhhvaQlQntQUjtszJxTZzkaE3Yl5RYRnauF9XDwU0M3bo9Yyg/UzSDb4FQqR6+RPrOKTjuUJBWuC5AHDwaJS3bgHRMtmsKN3+F/Hk2KbboTEbx2gDIOj4GRVHXyvFOpUky7zJsJT++JjnurWbEDWr2psIF+CSqyBGwLhJcLMBH9otIWVf176UtIa9W1RDwgZSj3O50GQAqjyRDxRYu4QYTuGtVnh6FyPsY1oh2BRzUf4jq0Zsmrjq7mdb67A3YSsoj/3JgODyNfNBfNAzFFXHg6BZmIs82CAyKVB8/7X+SByMkgShBOFthTVaq2SSFnFKfQviEZttfiaV/rdCFX7+H+xRirzr8g9mE8ek90DkklXuIXhEFLZQicXCyjRYsQSjkzOYndCJoUql+/wKa6dH0hrDEVXuxLaw6L137Y4HOSl8GcU0HxupZh2n1MuoEtYagqieba9q0s2qc7q7BeVsbiutRbrbwygu4U+8rKcNP7tR1vNdaNt8BLGAtVzhQmi/ZblM0/B8zCfryUghKueniELPZ7QoAAAMWLh/n/O8Ui1OuLDFMX8NMnXzR6hUWxVATxAtNxKUQO/MoV6NfiXhxYTpuS/pjY9lfkQG0b3VwA9sLAad4Xme5ynO+j2FnwzmJ9CkrNXz7J9W01lzSVwRQ+PuF6h+33vDp2uxMgx2U2t+gJLlGvKCopWAz4J+MsT0NWQnutMQRmoUUqUvU+Ua7An1Rf+ViCuE3xohhmP5mUm26bfPDXV2yAaS8rDwSmzlq9Lg/d61lTzyDN5PHJhJShENRN3kpTwioLvhpuH6oXtt6HWMZBNrTNqnBgeCgjLGijWfH53UpW0CHFOgOJOHHgaMgoQNVLa1N/P8Thtd3CYJuB+M1Ea3oeBjRvmQXbyd0mmjHROfTm/Q2Vzjbw26A89BWWiGvytfljVcxNYFcalxEISoVYSL4guPmhlRE+/RRSPxh5oJ9QKtABugcujwGY850509S1ZaJbns6wQSKALJGvNR0butu70sa+furISVj02weMSKjAAaNP3zN1+FSfZ2b7+r43ycglVmqwwQQ9XkIk1zaDtwAjAyDSb9OiuNYZvhTrVyQ/MypZkgLyZsDUBUgxz1tMA3TmX7VaWDGxHPovsuKLddPXgl7yhBUeDDHC0OFPsOqpqn+d5xgmahIg8wr4wEdzZwcU/GQaKGQGo8tN1moiUUP1o+Op8uY7+PYpHfnDZ4JRBvmnTlhXPPqbihV+zEoRAm+9UZuDI8fJfAs2RYzLmJXY6c9GUxnm9u1Q0Ywz0aKBVfA9QCzq0no9vQJkDFnCzCnL3VUeGRDYX3Kz1P2tWYtegTopEpSvinHZq1rUpcC9C/ohbWE6IUM8fCV7fQ5R3gqQFIwAmx3ZLOT7Xs5y0Xr/D8e5Bf0DzUj0/T5/4LTqDFpU3O0UM4U1GoPwtqLC5/rfv2QhFyarLgm2BFQ/rV1J5Idvpj8GAY5IPV3nerIjbs9qOIseS4agRB56z/G8x3CDhsgjRVDaCPMcMTynbmvtQ/NAezNNhg2TBupAAzKeFCTyF0ZdxFVrzX3GvauO/3jUnvlx7ouHDU1lrBTfar+ytpjG1/qeGtIlc6WZTmgTh0Ff5Os3sr4YOhMbajzeZ7Gy3JLm3RRxXmJ7P4UCyaT22Ruw7p8Tjkyrso+Bnw0QaUyGRo/T49G3CcrC8kchjb9rFUFt+Es136re3eM7ESOS9mFubTZZOJKgXUniZmHk1hhziaStWcQmVEffy1pCFHDnkQHQyDvjfm7HeI3veUukpP6giBIyiFSQm6gUyzPEUpcwTimDaZ9itcfWaMCU/R862BEy1EHuxuz5laJWsDMG8EYBTUfe2JS+77fhqV0rwFgMcIewLhJG+srcwiA13NV+EYSJT0F91MDJ3iHKiRLoBypvksAy+6ofNdS2kwG5iDSIw3J2WhsJyQgT1rfYe+kjVlN4VdQ7tqhmo6xNoku9geDaTQsNFp3CeIk9Ojf2uizD3ro4U3ptos7YT+Dra1MOt/XmRXMe2/ipODqregvnEHW8toZDG7tAY+wGh3rQt1V7542WUZN5xM9lE3p9qrWrlmA2KcafuqvQXlX0vc6vagO/yvEe9VPBNwWTANX1SnzBS3q5gxx7iaCAWHt2b5kXdYHM+tdDvrMNF8KGWVqGB7GGgzjQlzdyY8YxC2ESbDAUVfGqVe96SvFLvFZLI+9YNsN/YMWBIjkXBsa9KBlki1J7pI6By9/8uEfh7Kf8ZroXVip+c6ofhmfgMXghiKc1AZLNLCJRA/bGAjMPS5llY/rIEms/bZC3jq+fFCuVsUzp7hh/uMjun3ayp/hjd2uvKNJxOKKCiUVN2NvfP08YS4Upols4ISHY43u7wA8jImpB+uKexeK20KCaXJEic1wMfDMBgFnqKHkd/lJxeRHhf/zZNrlee02Ce83DRhF84MuAhh1adxRxzSmUXcg4N5ICF9kwSvaWzXhV4704ZeeEVAuWXWkooLzZCuk8422SxEwXmEexsgzVQT8yEuXl7QpIydPWeI8Tdyaw2/Pe/W/aU3OqboWV2s6A7jQ6e5ZrSCVGyz8j6xANo+Xa/l3wjiwxcF9X47ADU9HTlBj0sxRMzY/XcKlMYppl/vv7ismGUgQzKaoT6avoZW0+o+LDAo37wP4W2Bd0DweWFg/GJCdC39+LWUU5yTccBCW60cwOEQ+P5d9/T6zcl7VLJrLOwNWvfP0wrX/wEV56FoJxx/civPeoIauF7sAZd4reMBV+jmPxHtVD9c3AK2tdOHPLQWlxRzCrIfHa4BRG9RHC1pHXQRffkPbdiioUokgFkF3VPaiUU2S+x1nCvabnnsrzr9q3kzPwiSabrlBGppXh8agM/6feFhwQ598aYtDtueMY17wlm7zr0u0+88xmbzZ2tWxlFQnQWEaHgorRabuj4qr6cRZXwvAZDmOhX2FeeJkeRFOQTSEsAAJ9Tp3sVZYaMhD/1yoJhB4RKwzzGIzENx+75zkq+GAPx6jc3kAEnr8VT2M/KGQ4tAbuIYsnTlhb6JvSOwy87GvJqnwJGKF98D4tvzRNF3IYGs7Yd3FMXGCCcMx0y/RApViNcJ1XMKuTvBeej8lg1DDZtc/0NhQsbZaOubrFCYHP5YWFkMj0S48iSxobO0xZ4yIGQ3KFpgv7Ex/2ob/WHQ96M5CMPNVxAef4KIfHgCl1FM9ebmIULys5wYm4LPfakU0NgCQNqbnbT5anjdXBQJYw1XCB3cjWc4hdUTBgQe4TBiPqdvxN80xMqwlmX4enMWfkkgqg4gyn5B/LbLCO5y8XdI5QRJEQL6tCix9afpcsSMCVALilDksFWvL+ySIKAeWMpFoZhgwvAc2ndWYISNouoTOsTEg+3dGm0m9bXm0MMo4HR8mckv729AhtBTrqfuTXAnJLlbaTlPtOVRZutpIj0SzXXBPxGaWEhOyrOnGj0/ZUo2qfWTY+4a/D/KP0KeQr69DTW8d71iThiTRMexNubPqyghSQnBbf6yq3NNnGLI0TU5GZCPwm+LjsU+1nU3UfNBJ11RBLoFmsc9k5BY/pTQ6k4ckUdWwUj7IPn0X9QllygWfp916QqsBCd+/IebE559029o+sJAy0DRStjSO6HLyLHX/7D7zgmHDAI4H34W3GFAWRuj8mFfawVFFVfqUJtF8MGt0N89o4XnMxE7jNX8vo2r6kJXAPjDi5LshghY5hc9zusd8TmhbZC6kMFaUnXVHn7Qt7rcI4i1mcx+p+pKCpovf7eocZnx0Es3Q7FOMdH+l6+n/PGd0c8gHk8WXBvijP+/s+Rs5A7bHri3aok0vq5atBvjoKDM5K5fiTcoGs74IvkBubMRuiCWyPgRHwF5asg/YP/QKKX+J3DIUEGW6NHvh2oDyRnU244ZEDN3i7ZJLWnkMBl/x6qtJfTnr2da1kGL6QP9lj2WZTstl7ET8RGTmUch9hLJnLqXHXsOM9OycX4d/VihQbVNZ1IqeVJTlERKELNmdq/ORf0Vgj2ZMH1Qns4VjjPYxBy3Q5C8PCAqCpdb/22YV/LnjoQS1RhQ+SmnB8gq9de3mzPf8hbw4wH6ERXYy4BLXuh90A5rh0Z+SntrfXLKu9+QPIRboiJBRco8qSCAzduEafKUP3RAdXIc3H1JafGCPIxEvTZ1Isy91coGNrAiOfPfjB48nEJrkXA6SkEgumhMA0fQrX1AqKYpMeKXoI1h5hCtCjUUzXD6jB5/xiK/n5un5J3Yn/zYcpEX5ThTVubtIw/my3Z2zqLFWQ3Ocp0klFXmaNn6SryxPQLGu1zeW2hiWszeoYUNAL15b3Jj6EJMlgWubMWMSqxrRh89nB+Wq9cctf5uM0ikT/dIG8NZ9wAzq8zxM/bcns5gG0DUy5FOTFqFrpyIW+72zl1AI6m3Nja6awKNzlrjlfary9pfMjMbiIwxjcjUeAYDgv96IdC4j1xT5MS0dSCUs9RaM/5kDsHr0cUJ6s+eBns5ZJFhXnJOVd/YAiBuK26e3H4RAtTLbTweBZNtXk1jXdhcPhIh3aSQGONoteCLXQXFMosbFNVWY2bT1ikkbWSMZVJBtYdgJYPauJYmUKBVJ9hEKX45ibMhFejP06kUCTGjN2Fv1XrgUAB8mV8MlW18ZHHUf8Ca3bKlwwhCviFgV6+V3jFh375eV0jNXveNtZfkaA/oFmul6gZ/oNIqNTc22CgXbR1yFbTZDosY39LX49plCBEi4Fu9AOF+Aa94mNKPFe32grCqgR+dhfwwMqBbXUa0hyvJbW56Go8bWuKEq/iwUKKJgsaPUGdh9mFSbnyux5PjkUPBIPr/FEqWufi3ePsNjOvQYJcMAsRQTdfPo48anLpkQb8GOVT9wJ1xHrOrZGvwEMfzxaEI2OQ/7Lmql9FZdulAnnf5Roxd5ToafueuqgRg9eEe47m0sd1UgDcGSkej+k70RK/Mpn4myVBSsxtugEOKUsM5h95oHc8dxHK0i3jLdzfbdHs4LGMgVm3Xqs/cPageR3aycfebyGGPB+g+gPWvtW1C6VygJdJwPGVfsMQl/FLLxiNy6UL9JYaHLHyiPocTE5AHx3DSg1NedtaBL2JiOiMKjxJnY4sATF7Q8iNrfNn+saah8oCjCXT8/8Vw5j9cgr54UsJ/9aCw3u9tOOLCgZ//fIxPzlKxBpIsmcLJ8nx0wEfs9JigSx7GxRSnbYL7jMG1Qz7P6OmngmjUc7nwxs1YcdQ5I0e+74wnTPI/1ngciHSxRajsQIYGANGWNdhC5RmZ5m3AYQ/KeycizZItkKGOwcmkzjimTuBnrfqhWEQzMOyCaQrhMzGILSF8OOjQZCMnFbN7f9wymlHPGqz8/AtncVSDMUnV74ejNfmSJf0gjYGddS6swMm4pRM+2lX6zUhNAPzGR/b01DTG84+eN8qFdZmf3er3dLyUOq1bLF3qNtPFFxYaU+a+piaVkwyLXlzVDALJBP3FAhhj1S4VYqNl+/XwHZzsjyvXmFiS7yFPZCFm8ASuIpXy0OmDOPHW7y3mwT6scxSJvUPg/d6RTqug5KSGS5KPDhwe9+MVTjLWfRMZ1MSOT7ktLK2ce2yaoUM7HSoYFkmmszSQkh/p3EJHm3iJRMMcJtGwi+5hfvJo0EQ5UtX51VwFytnNKVDsk5O6qgkaD/prN4RKfrPga5h9eboaon8VdNrNUnc3r1YTRIXeHdPeBFZ8AQNUtFDyiqQysjQnLqpsRrYBa4CDRwcZJr1gXcRivr2riQMPfIK2qOBSmoiPXvdhcN2CY7MaS6XtZFiCVtx2QUGhzV5UiqF0cBR3962EGrpo3npgRxRAd3yS9boR2hnrA3SfGluh2SwmobqpiReBSMgpkEuSSVoR+7Wbkds/Rrx5Ft9Ws5J0xqqiXA1OPOrSw5w+yHx2VDp7hynFrjvSSMrPj/v2r85UdCBjgzw052muFDfNKyQs0iVticp8UUpmfNJdXHy0Eo9handJg2OvHfoI4JOWVb1yJGgd5K2VQMVTTTqMMEhRdfSI8qbAfAtLTbipGMeG03uP0Rp7l8O1UikCuRXCPA/Z6rarO+PfQuPMp8fltb0HLQQNqeTlPNTN+vUeLCgG1uSBrFLYR8C7DzhBKu/ZKBmoPcT0OmKK6XZclKQ6a9Dk85ARRt5YWYP5V3fQr/xPrRgKKYIUIOxErVj1eC1+YWcSzJ/Shk4qU7xl6FNiNb4wGTolfE+nE6Dwbjw9+KfVy8uKrSXNpW+mvKTtQAE4UfN1Is6+aN+z8qv/rkr6ZzrvSbcfd9ZmWDY0gCrL+o0Bch6OUydRksHRaVa67cMGylmU3z/KSsoCge3SsOHK62Su+C29v9HIDZEfngPHJPG5P6h7P+HQcB1vxQpHKuk+oo5uoRkktDtSJOvfgBL6naJuiXadf/EYyzaudKT/In+LcbyvX6VZaJ1swPCj2shPzz1vEQeXky+cq0q+RAJ/J60e4mZW8w9hRrKxm83bNRhp3VRe5C+V0iW0KZcLM5hJnE5L8Mb7v8jpoXsBx4Y0yTa5PQKRb3ML4/VvgIJ8f8h/nHsoQisfxQ3U3raJJPTLvzQ1OvuCWkIL8xBDHlSwf1XB7lNuBfyFm8ofXG0ZjkBkKwMJ4GXUUSmuJV7+TjXEsNM8vNNQU8iTgMz+CC6dnJ8anr43M4qEW5XQD45Z0GLbtRTE6JqwADZE71mbx6YxN5MnE4UO8b9f8O4M3BUWC87PkrvC6lpKb9N1wbYLXepvivbGySayD6Fx3Vx59nwLWnDG5X4aoXNXXmA4r+MbjRhHeGHMLFDERH8GdhrKSiPd3vPmIPGi9/0uLb/SQzCoIDyeAkD4fETmJrkBmfAa4G/gXb2BYfr1Lz4VRNEtb/xfLr7f6O/MPw+rTGQxEit/HooOtgMVkYR1j31KErDTUhX5kUFm/1vGH90nFPZWdFOrkvf2Ql3Uom84hua/HNuWVTKtlmHKBFRtYxPUbyInYy4Gf8lYF7uKIhbZ5uKjg76hM0Zdt2LpiFRDzVSgsrV1X7bwK1wmHEhDy+6QaYsoxTrRh9dFjnDQ3jDjCrfDdNZ7KSGfdMoWSWHv2TM9VIEYhzM0jUbGyOXy2Mch+V67nnyEIBPThQxVc6VVi0w+nXcJbOOF164CXmyJDflZelU+3b0jr+8wpRGoRtxvAaP7b22j5TXlTEqkheM672K9sxOzHaGgfEppXTXekHGS76DcFvA1OmaBla7pjtDs2EoUzjVgD5bMJkWclqrL3FEizd6bMjGoyOqUpKmFhpdBZSferzt/+SBrXugq1NauCnqIrem8CorjLmRKZL9exnGSmoxpJpoeltsU4CcqPGH9qOl+MU/lpNpLE9tvDRBbY+J3HGPsXLAqI+eMF3uvugRd/TwTnTtdH2+2YiktavpZfzEChdprIjI27S7ZEL35HWx7yWE6tl3i1ys7N//TfMHg/FVE9OmQDyQy9ApPl6O0GB3HkiT6pMN+8BXBjTEh3KDWiEA+385ltjcXX7slvyunSq9lLNGVPRrLOlcf7iGF4IjzmetxA8YkMSJLLHR09mHnsyt2fQzbS2uo+iayLpGE6+pMS4lPXoi6amTVKLwFVc+05C33Sh9so/RYgQfnRNPARM3MQNByP/P0ypPT7xYVsJbwPKX2vuC4LxVmn5CySwup4HpnsgDvIQeGV9Sckapgu9nV9VL5WeMtFCtJDPTMsOCbiz/LUIS1wS7abIyw4JHrp6yY8lBSJcqH5vAukg2EzU0O4SikQ2FT1bYZLi/JRfZ8aeEklQqZt7WcoZofVBkf63HqSxDyYxuRZ2S/j5q7s2B2gikcEMxQf3qXzahI/pSI8w0CRRUKgS3RbEhL+qHhrB89Ms0WXpMMfVWzqExZsYLB47aGYq4ZW73nMW8ieRBHnIAtKQ2RnKvzutz15sg2Mx6q0xOOica7JzFaWZjt23OHq/NSGgymXtlxo0E/+HtM4/d2Wqi++xiOdT85X9c2sOpepwInTJifJguBJSEA6QiS4kxavOKlg1GXhG2c4TWa4w9kItob04FyXdEd2wUzx4iJ/nQbuz9R4BSB2/nR9nXeBf2eBC8ecD4RLrzkRoTpRX5M6K0Fz7dChF7QJ7x59ick+9Pnu8IJh65ry8ScNnpQ57dGMOLjYinwwfgcMCYDWdEMYYwPPEGks3DR/3u7AFfzk2vtC3g9K2toajbsjRnrSNnit2oCmPZl4X//4BLMuQmVj2CfS01yvmibyCQt5esAww73aoP+3jVs/S+nXHmi68aRA06WqzU5CsFuwK9YMkYuo6NRDesJEjpnEHFz63ZqCKJfPZRM/yjUsqo0Mr2WJKqZTv6+dDrs5T6cAOzRw6Qj1LDdc/dOcK3tQCnUE3PTB/jR+eH8pxKaOMuoQQPTyxqAhzPWcpZHKjOIB9zsDHZ2MvLZThEGOV31yZj4qZ8SEuUCo/7wAIFOdsjU6nr75lvtFMFtLTr9CJZ77v3/9zFAA4QzDRzMMM4mASSkt+oLgDWRwVlgwWXgV/MnNHgVXmGVlru+ey/5EeZ4WCfbQ1+Sc/ImzOF/XxHgsDxDQgsq/6QFiEkjiw5TPHgwPt9DGxt5HafOmfIVxCl6iMZgIlZ9cHPuD50iB4zWux6wn06ytTVeqAOWTZva6sMk5OrfjNFBZ6/7urCRmWDQRR615UZ/XfhPmkjfXkggA31DoQ+uNEtrzPDRMy0mPdAukqFANkVQpvOPVu+f/E+ub7NXhQVzjMKo7/uFlxVLHiXI7Y84tz4t+pqF/7qQhQ/GJxunQYvcE8EO2m+bKt1aEQHKOolcA6Kzhd+qvJrfdm5++DEgqsuWmncxOEtQhpqNoVeb57exOMo6SGeUzvE0VukDkeTwEaoIGJUBC6J3cR4qiDQoRjWW3sSLUS7QOIZi349vBMg4Q9JxifiXdiJHY44ma6f7BwsIu9AauFex/B+/UMJbSmu6t8hDQ7qTI6EzgRPikkzgwswMdOn713kcKhaWr0ISfRsFJctYSRayyYzlWphhzWj5H4NNkpr/NDDgXV7HVJzSV/LW788snRXhNX4uyCWNMFPamD1UxXh8GlS1PX//FE+2SM35lBiwhTO4N3ra4iYfLKWc4dqbVwUiX9upRZk9h7yZhT6bovXdYW3zHX0iT9rBglxfTC2WaQKhC300Udu74AxDqazyRF2PYPQSy28+3QHxujokLWrxh9DT9MHn/eHzxF/QPZ8Vt+bB+s9W8BRdw2LZvdd/PfbSPZwU0Ly8sKRi6lnU1eATHbF/SIo/23qHycEpfs3c+Vp0R0C7oO3EH6c0k4JyGhzp7HquT5ayvUZPczRxr/xQxzgSf3XbSdayTOEmqTXtQsO42NwFkPwpp9lRqijI+bY8J4Wx6xcrLRHhv716f6fN9CW/mOzlWoy7AtLKTp3EQWgi+0aNeNilx3LalO2E4jzomLVvW8l5jZVlmpUfU/F4xPxbJ6z2Yf9dfWlXCWGlyOP24SLuEkgwvOPze5g8lQRE0wJcANm50XlcyTsru2x1YLVdmCdAbdzai7z50BGTfgGXci4w/GBx/YPOXEe+uirPNZjCXDqOHGWqn8PWLGBrXJSAFRz3rL3nNS2cDlUIZXiHVMvRZ3S7EL70QQ9Hxs3fY5WncpRSJ6ekEzgywRptPnQeg8DcHNz2gG/VWygBH7gfQt/uNHSKXNQvS07hK4UxN619VktxAS39XKz0vhzWorTYioK6WKuNBxqW9hPcEZBHRPT4OGLvt91KmoU927p8H2skxVXRD+gUo+g9k9dfX5o2GX/AWsQbcgsy/BDll3k5eK+AkJHZgDEnPw3tBo60E691HeDTEs+AzvSOikkIQALqu0RzOQAx2eKI3eHE40CZ+1uE5WGj7F8lRoIjenYSOPtCprJHDtk7bUshvlpHHEB5y7sJHEXGo8dbZlTTbbeAIivoIrt1jQBQwoNvoGndAFAJ3obkjo+LbevuVDBa/kke17PjLE0m2XgSCZx2pzTo9XKVrlAdh6cJzbrtTSGRWACIi7XlM+NCYvso2evGvOoxsXR7P7SEDyx3v7ujQFw9Z+LgNRIyoFm5ynq5xDYcgmTZHaGIhmMMuhNVSsz4IDuh3qq/n0YZ5Xd50tMdGVTp6HGfADRhk0b+8n/Bzhs2s/x2bpG2ZhpGZpA4goKe6DlFAfzNhprLu66I/+JByJhVHlHeeAoh/G1yFtVaRgulomj/hyOtrde/ucRLa0ww1QGBk+XPjWg0i11G753xKEDPEDrg68C1K1buJQq/iXMjusvnMFXq/EEB+n3UGwwWcODDYph6G/KTnN7jJ0TYLd7KmdsU8YFkDk+zK8CAq8XCH52Vdxeu/eSa8drRcVRVLiwfaauS7gZ/9Y3jxiSkK2d83K5HvxWWMGVSSJSuuNgsML1qtXFooZ7jwReaeYwUCLlAr91LcgV4OkyWznHxYZeBSdhFlk0m1Uwlo1EbL7hewSmlMUp+oCG5ktURM5PeX1PmFCMIqlaxTN7AjzYIPdIyK1mjA/YLmkfn7hmHSZjCAGEVRpZJj6SrFYzX4JfNcNh/Q8rGKKLp8B4a7cb/FGWpauEDNFnEL9syTgJETQbrJwQIbhn+027dexArTlD4/e7GH6TFyEP+XekHdUr+NY6u9f5fjC+n7UonyaqKtj5kGbKth5gYEpFo4hCBlTzT9R2bQqdCA/vcP/qISnIvGxVHSN5JWvH1B1IEFH1OsDgnjgeAB1o+cH+OkR6kiI/YB14NWT5ZN2/jEchlGN4ayfbPpmjwIMPJhZS75taHWbnEyHF+TrgzUxuRCJEtr61+wQHCQAr8XOnVyb/W+b4Mv3Qwr0psIjhCWY9zASK8jIenW/PmLzF5NOg5b8l/o6e3SwpSpefQTfPZbuHYOtJ7m8dyiUAhuBNMyXocG/JL1lDvMz7zbR1KwlB3vNjFsDYPrjRaSqAzDSotCSzvnKY72G52b3HWFV3A/zWRLmxRRH1Dj98bipR53FMX+MXjFuSpDVkQBM8I3Qo//eHdkfF4A2fxv3v8LDn9w4xIPYxWbv8UPGfh9hnNNQhKgMlp6kr52h6Thc8PB3bYr1+nbpsg9LyBK8ROKrtXAj94LiY63ZggUwzrgXrr5xXdQYAoW5ZjuFuuz4KrW1/RwWxDFWQBYUgQD8Tm49t4WN7qs/iZDyhFqdaXkSAcr8mUAMM9gldtSrHLT9y7lhsV5xMk0KzNxX3WW0Qs62iyfArLFFLSnCXTxuBm4Hn3ZWIT2BahPG0Qb8SetARVaVGRSYxCGLt+1y1iq+DTmtxChlzN9VKvs7t8dUA0zdbwA40z4TJWdBUQQmd/Q/1GddT78FtjzQT2K+j6O80YkZBtrMTWuFeRsB5om7mNc09uCGJb40/iKDzIBrpVQVXAx+5OFNG28UlGAogHqNEVaziWOt8WknxemZut0SSTsQDL4aEl/xskhUVH6puD01tsZTGWUGbZQHcL5yDB6jo39n6BAxa9KZpmI+zN2dgZUd4J32q9fN25nih8R1xtuFBoF8xX1HBWmkNRvvZG3h3av7Ovpdg1wauSyTUrz5ThJ0l7d+uUqTmWyDUMgmWt3PgRoYl4dbeQVqpnzIfps8XASS+ZFAaU+S4C8w77GcApNY3mJ/haC7NYyBT9mCT0tlktq3Sdx1zGxpMFB61JV0siLJSaulyMwQ6xVT7UBReIIuEFvvFc+7qEJPQ66r11RSkAllx90pkRkT2bp4jBu6sK3Eyd6talKiUuTgoQd6Fhgw/xWO2BzdoZ7yhTGVp5pTscrxGrXPWR/sEwHyAzQL8Hv0AbLov9P879bUOOecClQxXZMYND75Yh37jMTDPSGKBISXjPjXsGmCR88LRV7qrbneZLcCnnvbtmbw9AsdeDwm3wsQZijQhRb8hGm28Yh2OJ7nZ/J7fAdyZc0LQF2O7EfSGoHU4K15FwlcT1rrtVaTBKqrTWbqlIDfkFdJToxqf0ikDBOvGSUMdYq1yx71CuWPSxZtX/cBhmL7LDljuz7GzVB+X8v3mQ+zcDc3V54foUA1nfs+0VDhoEvJRDFXBwY8Qe0lCHH4uv+rEbAPENgyPFp59dZ/XMQ3V8aSscRo1NOXjaG4GlMRhoOrX4aljmSbPpIcPemhLv3L6FVg1ryQdoiA0AWRXigWhyJ4BKxB/J8SA2nuIRdfel3i+/2rPlmNfo450m8Cc1cGOTZzrq+h9sZCJmAktCJI/zyua5uwKEfiMwQvlTMW7JiO/btROlgEZio/pNnS97nxdaV32/LiCrlmJClwW7YU3fU/JIwnJwFOQ6uFG4DQ3wZgu0uqdVxv+YhzzoZhpJa1NiFK20sGCN5R071jFQWQi+RwuRWqlrhv5yE5EKZE86/FzhBBE1l0iPtA2AuOu+9BnDP2w/wpwB91It1VgUZC3XwCwKSTHTGwMyOP0MjXg82ir8X8Y9iwrZm0PkXRp0/gK6YWe11yxChZ54XTyTCYUJag588xTfW4XQvJaLDMKadU9pSPPMvHOA7uL90JmGjgU0syHOekjKZUny/q34HLbYSQOfuNooCDHMfkgaXHiFv73F1v1J5puQLzIaG/du8NXcBs+LZVNP8SwnDvqb821rKs5qrct22h7mLphChqNXXBDvsAmKNd7HFYz2lxSuZqXzUOXkDbOkHNzq9tyb/hAucuQnjKNqPdzZaXEOUbADnW2MXi3bpL9AOUvQuwcZfH6YVnAvbR/eFSo4P5SpswG42SmGSwUlnFMS1/mDR6nb+Pz7VqL65aTVA1eFmEd+0gXO5Zkxwo0WJ8OPc4B0LMw2YPTEpO1MydEP2OdcOLMaqfo2Azry6ymfdWypm0TEVBHpPeQM5aUgudJmIQ7hYIAcfEy7aYRMKls3wxexi+tHSNaD0e3+wSmiy1YHmC7NQOndqUxAoS9b7uyW+mMmqY+SDz3HuaryS21Xv6ek/Xf26Wye3/c0UN2+QxixqnWymQQtCRKg+wTyebXEY2w8KbhcKo12Q0CqMyqlczBuvF3pBZ1RLnLS18KuTG7viOGwQHbfs7LApmeZMldm3Q01Wf3KRLsb4VXZslRdTsrFcdv2BNgm6nYxMHFW1shYUP4m0GX21sxVLJKrytIFEE+ZASBhDU4B4k81aZBil717+8Mq6cQqGwlEXRo+YVyGaneOcfILvmhU+1n6tVUuBP2dazjBCQtg+7+4qa6E02e6ztxsL7aAu66rbJu6Xl5Y3NerWkwhuwyf4faonGq0FdB4IgTy56t8/K1DyQMBKISCA4J2iRpyJ/GI8d55FaoXr5RhwObM8fI3njTVt1tJtP9XDmbzvTsNm5kozKu6F9KasOizIj+2vV+2msrDw5KJ24Tsun/41iGLk1zkv8wEezVXRxorBamr043Bvgpx/bS/Hfg5moJDiwRbeHcwH5f8Zshg0YEtkqIZ62/Q02U7UMmzaB8kphl64KaiT5MiLa9YXp9fs2UNXHV0L60yW1PvioIE2bWuGLlb8EST05mZrNmmrhtCoLTkMB144/mVgyiAPqnIyaV1NZ+GNtx7VQFhkpVavitYCxmVamt1ZMwrmVOWyZ5Q3RPx/zMHco0Bl57BFgnbwy948MZ764916KndI8KjRTphDpMuvBRXnThEcPVZf7L4u7Iv1yNs1aIhPuNf/AaynK7sXbrIv7GQZEyzoKIPNFznoWrMVdHwJEah9w3bQbhOJsSmnDAuAf2d5An6YKAQwNoIaxzwaAm7odnCkQOQeGJvFz2VsBrC5QBzOBLQTXL505DVEzLCyPe7PimMJVBa5SN/vmhwFIXRAmfBsziS+AExN4BA48HYxomkF1X0+3AzcAcgCMETl1QbnVUhLup56Ocvq/jmPsg4ra5s7Wg46lIHwVHnriRiG+wLk8LvqC3fwhU918ioaqYc0a9TS1nfvanz4bUDPa//D7PjXeJluL+uT3pLlT6keWTexLTKWi8naGwK/yrAkBMK4dO6RTxYS6JTMeTpyz+rfH08Vf0tTXXS3knkSB+h+b9apun4kMdAwLK8zmldstkvnH1Y5tiVk8FYje7e2Fx6vcFKMIlODG2jVbefwJXIJxdyuuhIQqXCEzG++xy/j/r+FamLVzq/up2eXZ2yVLrs3/xM9Rx1ZsazPhlqDLjxvRAvpK4OGd1SrlRjRrexW4R52ACKS9aTMQWsAHlraV8jeV8PfJfqxLs8Bc1nFxtRQeF+WyR33EKuXFV2m+ZUVAek0DviTvq7Xbcy4ze41iGVlwViJ6EPrEvGna4ly2DPiysZoRCrp7BWNgk0wIE7yIBop352vtoxskSeNU5N6PCCU5ePFCnLaqm04jaI9mp6HOUR1RJvnAjMTFjrfuPQo9UhZA3wAF9M4DlWiaWU/uuMqSoWwZN4bijboAjngkLk7RiSuKSRXiZbTsBTcdpNRpBTMC5n3PvkDBTZpUxKKIUE0EHCkzPX25wIRUYJfMeKpz43pM/a5RhgPJF3Vjtamjgb+B/JoGQI1v6O2v7/GfroWi9waCMZ8DJl9TPZcKfe/37BfvM1CrBiAA3L2fVvs6tlE9ZUj2EcBGCEUVM15dkvH+KRPdwpD33xNQgGr5UACfOHJBDyI1f3/eLNeDnYthgegjM2GqzdW/FaPhXI0U6L3aLMLJv1/PKqyzalgTaHlasE6dsRnClcmC5iRVXptT3xnwcIhbvP8JN2FIlKz8yTYtCpW1HCCkIdPj5joSW+y5IZ6pdBQzwqWefZUwdOmNy6V7NA3eHRH8avTnyI4jd2785BV0b+IhmuMDm8xOS/J2VrdyfbzY9nh73mggiBOJQFPNSwFvRHkj7bAWJdOUPdigK2qsrSKeLFanKLkMUnLgyWipK0m0ZRwmPHCI5+68RWp9uXB4QVXcvoE8ZfPP/d5t6wCgC2hYGKrLcIfxyhhOaFliDj2jQJC/OgikULBZWrfD7rQkAHZVBlhx3zqD1nt1r6aJaPxXZjLqQtq+eClZdRLN3hMNlMUNzFxHkcS7slWKsDM/gBQQe25PbSKEf5ppNu6ieohKW9f9WrwzKx5nm9h0Pr/65YIbqiX57Vx43u7WphspXApIH/MGJkq6raYVzPdxJo+BW2wCQARGGZyInZa6FQWmQdlNr8F7AD02Sh1V7GVeL6Jt7Uol2488yrkHlLtyQMw7n/UxrQPsMz6CA7ZK+oJfI5JoArPZ2Pem+qBMaqObnJrSMZrO8a6HGk+L12cAlJgXDkQoOV+rA5JPbVensKdmMTAFPwaYx0aCvN8ux6t0fSvMVtPmqLtYNcOA603EHTU3VCM9Y3OuXZaWeJiZ2iDFshvMQYZrRwTXsCDsrkVzeYaRvApLm0DhAu7uO8vTG/S2AbIoSxV5SBvfQ6hLBeVjUb712SparnPMngFV6EZYXN1383etPSnbUy9/9DNbStlPFALQcPDZS56G5vAkqCgIMcZLDVOTfMRenz5vXb6PsQGZVu+H+1bBF9m2MJIQl1TAezDOg5nFseahROMjnwr5+aD7r1fOQrSAZLkkg2AuCBOjGyYf5aBrQUiOQ9KtZE7xCIE+ybaH0SiUDkMDnjfSMp+azdHQhInbngWbwvAsnenp1yZ3ru9sTGaoyGzLQGRDMRdKilLtQqn9SwepDp0dQfec413wRPBh3XEap6RnJ6WuIaIbeb1bM3WYm63fDrYY80WlrGfoL/CYeWEs+3CwKIYkct/aySnjUf/RlgcCQobBRk4olAKS6beu71Y3I7vZjo+MpVG6p3kdrsKFxtoR1DHnCq/awbmrrro6bTETcFVO0S1u3mwxlRWh3tmXx1ApRBj7QhAOiHNF/ss1gF5vTVf2NV+EFsibEDEKuON1uoJncVOOeSYYB/+0P+OQ3ArnOaKj1+8E1fVtIxY3MFfg+9AjIDq1lIVcB6PzegChIm702kREtjo0m3WHIgM7Foit/Z+GH8NEDZAYovEcMK+Y6EBuntqf7CqnvPpb3c7JWLXNJZQsxnpsAOMXP+VDV8575tKryzyIYEHBGqbDZ32gFThSpT3+3AZIjK67Q7mM7iV49o9HSzfdM0ZxmaTJAdFFi/5YgOdI5IvgJmCj9VCMd++uBqSxAGy+ybMyTQziGx/1Zb7dxP2XHW5NpM6PuICaXFzGkT0uSrDGA5uZb334oMTw9NOj8aIh95oae/kTrRcwwCVZ6/Fvgh+DmrIRwVuf+ud1CO0E2a8BT9L82GHch7rZbiTNg/8xMfKIkjToOrUQVnzGBD6n0Qttk53waUds7ygFVvKziV/l7jbwvSBAIUZfJxWjj97S6FdTkh0iLDkEh3pT7TjiVH9+CV0LQ8ocr6v0jHG1pqeLsHURlEx/1VPALZb6xL7k4eRTJOkmWfmC7ARqJY4g46DAcQVVkeND6GIDJXh/aODz8LCsLS5v718ncRp5mze3gxYDRz1r+QAZjYIEPQBwnNZb12mvUPyQYDIPWDuztQKtXqAGOrJ116MLDNqk/mu9qrtkSF5r1nDTCIHWccReA7YTRTdapFBlBmILHY+sjZqX9vXuPegjicmJYG/YFYHSSi7ZGvG9NoXfNi7j8L/FMZiG+dO+6q905ezphwGos9hic8XLVX/c9tLI1YFxFaTYUqknl9GogpZy/3I6Nc27+mZN3jFGUky9ORqkOEE1gwT3nQGAlkF4XZOgKL0D9nhe8SC720HayTtQFgtaUDztAfbedt/J73+8CD/CQ9m7TgJCru6G9LIUfG1ZSIUGqfv8HpLBLf+Fdmy62TRq4WtkAMWjlgo/2q2R1PNFBuUbvBNcyCelCb7b7RMeo0n/LppsdaO81vvblQUwXhZwnaefCHbPrQpqPqgycVerHELUFIhGkDr3kxI8QUOd9qc6phRb87XDz2lAOH32fqXvhKkscpK8KHsf0DFN9jrHB1lpZAO9PoJ5tRJB0pXGbWUMxsAYF4m2HLmfnymVDnOBNtVn7M0o98+4fr5aRWqz/ytK7Qn04ewGre6j/QMLwqI/amzU17riLIC6QQzRhjGLBnMHywkK8cX/eS7c+4TwFsMw+8MkvozWkkBQW726OuNx11PEBxL0SAIvL+WUnsLZbmaMDlVtL2YuFOOPuo6FW9u0c0RjBT/KZtvdLCQL004RbX/qP/1Vn4TCI8ZTwLd+CzzsYUo1CBhTsHqy6YVLOU0QRy4JhJWOhePZfv+ucCvJBD0Qm/1af8gz+vHfjENiKNMAVGhQw2BnU6TXEhEvi66NM+MAkk2Cn2jrdBpV1ScsAyWT7vBdRonBOzcAMPnZu/KaFa8ju3lnkxWybJBpDzgwhEnqiOaiISvhlRYuyHoEaZMlmkyWRq9fzE8g7mFGIRZ4VHzIjhWs2ieZOsOEYtu3baFVRAcyvYWlfFD8p7LCxgfHP/MV7SmbIpyLuyqu4wUeZUR8WyTdq9ZTeadS17stcitTz4KDErzmcpkiHr1/aFRwN8+zgBdTM1GDCZW0VKfU+IoqGiERfFLuRey8imvdT8adju9j6rIHSkCkkVhbOj9xGbhrZW5K0dORX1iHxoJLDERbBNhxz04Et/+G/BaODjvoQCUxXBgMLYPtZxlu9ikd7ehYZIHb4kmjIdpkbHAf0Rcs8KXKNDjRR4RfVcTVO8M8NyX7sSd0meVG0d7G5p6yRucggxGuE263evV0wsJjveOJvNtTzF8gMRgY0x0jQuuD9dzP54WHBHufw5GGeEvIgf3jGDUJAMnoo+7yS/BNamomp5R3b9QWq7GfvTBELfDci/vj+lu8pkJXUglAJPeGDe4ugV79KeqAcajl9eNpLZC4kLrzhZXF5j4S9EnnyPBc3TxLjRLtO2WQMuDXS4/ZDD4wCMoqA854JvzjyY5yvMvyJXEvSwfmc+XhUYTM8M9F+g9RTNLxlhThgHj6wBUtXjW/QBle6DVx81OXy6G6BicA+uX2Md5AdEp4HlhvwXg5rRNlher+Dm48TVHoaGLS+6voxV1b2jjoLBEySe7NgH/jvAoFwwDkVsp7sfi+3d5CjCoDoi+KRLjvja/ziKF9oIpOM+7RcrLBtgA+oSFWwdRuNDwlIyrBOc7LuZSQe/SaiRi04gXSVSKu/zKzlGi9PizzpKMMUYaq8KL4P/O3BBkTDXtVCfWAOg8F8pBq+oL1rHaK7vYYsrZTF9vjRWQOI6offdH3pWFMq2uu3l9hG0X9/LmiCXfl4Jx8HgmK9z3yFQRwLHDyyFFOLXxor7yxts18u8AR0mhoM+ZCHkU0jsN1elg3tVl02LBry3aCDky7huLeZb1ZQiuiKw6suqNOA/PCKGR5N8O6wXop6ySLm/R7tCMg9hAa4PSskX8p8Zfl1RZn2rx4WD7vRpuAMR85yLh0c5TylL/f6i0Xjv7FDPE8F9jozeWJM9x4CxYkHdXkmWAz4CuxUcwmyI3VjRchNX6Aoerimm3Lqsqe8regyLtdUSxqXtrWzIn8sqamBntqs7CkO2W8OSpoVCv3GcL2sFcp5/25vkRFoOjLzL6Pj+H7HBBI42UERTA/xW8Wu9FtCy2RgAQsQSULJObbU8CwQz2FyaS5jRdFPJgXLghyS5WJQCy6ALKai/xWnUpUjk90+AjgGx37wUcyaM94iLMhA4O211oe+FDQmVeRZ7xN3HM4SOFe9nTlr1IPvTo97rq91qqLGMZQoTRDKFm7+ZdbQFeAlt4cn9Pk1EB9ol8SHTD5B0YM//UbKXhIkXqpCxSB1qh3r9aOA14URnNnHV3Hvt8RfDZZKrBnxCvz8auwyYSAVclzREYckr0zFQaNLcJIv9LrxwRFynPx/7qWXR+EOIYM9MVH1358a+MBmKTXI8u4l9eFUtpUSbYbWEAq0V4NJ2D1OnbNibGNRsRoAmeY/4Xk5W13OPz5FRgwpU6EcxxiyGeMAAvmxddCYe0ZJPh6NmbzJ63i+yAlXomZk8ci25qAcmSlIaknux4/g85IONAnOrXJ0yIpqoEkQceeUhYqh9CVGRr3e9R+DRNghXMQeNSIAurfZfeDOXhWiv93imx04faMpI9kPkN2kHN7AY6UnIjH4JTyu+luJXrcWoObsrxaog2X4FEhaoqF/ZPW/zDS0jkidCcopTeWYeZEH7XaYAhIs9nnr4VAO77Y0pwZlcg3q/GJz7Bczj8NqNgckpLRlF8lIVI108hgTmQLyV2wNwNJbbVNRaqUuUGWGrDpQUBoYHE1qLUc8oc5mZUvrDY4XmFuZUSX9GitbQ+Xu9UKGxbmOFokMwwHCYUn0LC2bxsD/sWRimOV7H8h6M3Zqqgi0ZQwAIx5dTkTJnJOaNyLb+rYaiDPse7YrqwQLopY2k+tnWJymaRi9wf6QPgDME27eO8a/POAxtW4wCLYmftWOb/9llVdx+6JB+82nfYzbjsnSszZqa/R0WIJJRM7RpPzxEShP2BSvEZQkHy7YJa9lAxXUwm9MfCy8mWtZIWp03xJXGtM+Wh5TXMgltoJ4IoRaBa+8Spu6wSoD6fAZhG6gm5LndJA84YOEB95Fx7zlyUJ9J73+xhNDLK6EZkLDfPQXlYcd4thj9qj4u2f4Jm6l56+pRjVr8YrVDg9CNShX7X/pc34W2eGS8Sl3eeKBtpC76RMilvddAPB+i82FCLnxyc1/BuCp8J9Wa5QoXStopby1f2Yq/FzKUDW8hSTldAhOCWubECRShm5V2r6yccerYJkta3Idg/knP18VivVZDuwkDzbF2bYEttns8QBrg0deaPkb1N7vfVZTRaygaDq2m65ZRaO4Mah4Y51Z9jK/u80OxMvOeeephJaUNUkgHrp/qkefmlPYDDYqM6ADVcPrmlTWjeML3JXtSxg6k7qJeJHWtmek0acSggTzCiQyVGZAyYOASSS6ZBiHOVfpK9S4ebLutkeDX1xSsOdOWa3WwPTaeW0tlUUUNXHdhywxsoAKVQzl2HUen50xjvJWnIh3xqtkKxTTjDBGiXKAgB0/ru/ZBTAe8ypa3E7TJZwckWIin5ST+5JItDKdZkGzvkJuDmYjdx0hxLLflAfD19d+qgMs/Gde/CpUn8Bmnli2DS98BuOhX4VN7eecIZb9n0cLFOBb5DAH33FIsCwkHmhZjsd6TEa7unXIH4FmIr2ea8DcRTKkKFBXHoq0tyG6nDlpyf9kmkaARPJF8utDg7Sw+w8Ka/RSG5BAVilamsWA0R3ydyCfUk6NdkLsW+rrVtagzRrLiNu2SvkvNzwVejItt0FIK8bgTXbAw2u2/NcsG3Wrg1cizaS4ry/eDLQV8jOzbz1W5BjRY6+Cp1ofdEnOo0KPMylhQRFxLru0HfodN9+nu/QY5wmPHAqTIje6iKLJXJR7Hf5PKkSzMPeFbPgLlBbW+TjcmOd6Xoc+LdGWOj3ImP8v2aeuagmR9UM7j4r2PLmB6++9lzz/dQzGhNhXlgvNbHs+6VQRpmEJJxdVf0QDV5VQ5mmf8Or5iyplf7hPkyCnv776sCLVIzLKgzmHYW+k+6wPKXJmRXOxGa2Us4sSKDsfieAFVK71PEdXy3K1G6pCKTW9KhQpeeepAN8FKFBg+U0SN51r0cuEDx4FCA4oCR6GK1B9+e3BaEMHpLRje2gOjQMPn3gqgdq8VCXZdjn2TvomatIZgX0AqdvXJNIFb2QenkKydpLs0ouEs56pDB6H5ztP8WYnzCMi5A4LlwXDc4Sl8YeUOcHiswKqJWlOVQqXSQWttdSMRKElHDX97WF7HZkG+e+NchIPoYDLyndjmlUaAb+b3Ka9ZF3QsTdAJQ9SsSw0Pu7mwypt+kFGUGuETliMAB9Vk/29HgZpPxJ6CtJcOfvOPkColGr/jxvqeaNaHF89L8jQIEKb0G0NXC4/0DjpjIIdBR5kZPHTJOQobMvb3MDv2NbH7tVkfd85OgcWDAVJkcEFSgMu574cxDLG/gsMOsEmpa3u6LabE5gd3DSEcJ5AjxqtcprQCcc+vEncpfNRw395FYJFFUuITJjGKWkFuzsHrLM2FkpKcIBNIGm8+gJ2aep+Xjl4uA5LgIIFR+3MtKuZjXc7+X75/DqFmQPNFQDqcZrVZtVa954+qebzouZOczBTUbMrTI4WW6lcJ1du1PhAKxkCY4CedRg4laYOGuvoKf6s9eYbOrXPyhIcdd8lAswGGR1SceAU+ohR9sYHM1CBT06xyQD4phQkfuciH8GK/rVFIwWYLXF95C1xBFPWZjSK03/Mb3Yey3KebhO2VQElj9VUVVxh18glLHlyfVvuGsJ/DUXJaZBQEMqlntYoAWJyLirASQBZ3no94m/TFG/Z5uBW1xQ/BnsLE7Hzsluz6tblIAU18MamAkK20fdcOpSZOfGuf/TqxHhv4ohZZSuTTGoUH7r9FoSzcPFkMu3MTjFrlKsfer382LInmKchFbkYyzovRNRAptZVM1t8/mnkHAxq2sZQy7+8MQj+2xA8QghMMbza7thSzx1IEY8eHThkKdo3AJ+p4CS6miAvKm258C3Ylj6n2dPqOy9ii5tkKLtCG8vvl3AlNf1AgJ8Raq02sbIEGIvjBRXNlmTjbYAGPQcKcV/6ccmjZye9SG4vTITwlX04Fnl1oMYGuo8h/xe2gZGRITCJsExJ03kqGYsh+0aTAMWX4gzPMRyejlBzxoTd8mriyC+k2EV97gaXw7/F0Nizb3oXFXN6cwxS6rt1F+omt3UXDwZRgo4/FDDaa4VQoVuF/PVVYgulE6oipPUQ2odD5lWHvUfEeLpA3BXC5WoH6E6bhW9DfuZd2qlklpqtlJN4cHkkSsvsm9gAUa4MIEV7EHEfG6Ej2PRJOs4FtXHVPg1Q7Kr5/yI/BZEzYSWAJhG20a11/chP8IB0MiPqtTOmKQIxRfWwO28qfGQYBDsJVxGzGtSfqllY+9Fg3bhvqlekZdPb3ypWjIHEK+eeSGMY34Hx4w4fVNYNW2ZeqTjM8uNtSVzYsis8eAEUbnODHPkpHMGv9/4vkgdyCf3MtUUNOSaStwzEXFIuPM8PQ3w6v+6KBshNiHsiz3zUsBU5qwqX6m6czbHBaM7IOW4kDDfw3HwVwHt7TwhF9IVeVIDpqW21ERywK9HhYQ+7/gSx8Pi8YYj+z/Hk7pYrEnN9M9bor6vA312xVH/uH1hX058SC7zwp0VlHjWyGRmgKYlq70toe5DsL2sOtkBhKEeICMRWSBlCZ/b7954i/v+TqkNSpYF035rmyCwiz/wBRr/e/bs9aKvkM6BoRpwyXi1Fn6JmFHvaGONhe+mHlAC0k/Lr5tU8IjcveQ8fkCNtC6m30MkUQVSk8u2RYpWQlYCt2gkypXyoDM8UDlCMj1DRfQK3WibcvAR50nOX48xd3qUnPofCpl+7MIMAx0MAJb5DG3L7Ma7P5gkDlbxa/A3BbJj5Ssfhq8LmxJ0jjAJzwJ5ZpKGZfQPb37pAQ1xZG6RYvJM4JusVM8y/1AWv/KPW3aQfvtALvw4vPUBTbsmeVtY9DJ1hQ9jVD/KLZ5G43kgHSTKBVd8Xkq+QaxslqzOSK89dsKSQkeFqVHSK+ga/FFMFcDXrXywgpDDRKCNaT5my8FEShKbD2ECT6hBdnDBVpED5D4/VUN82btM7aL5dO7d2m8pwsNrCcyE1v27DS2aeYy0q94MY0X48RYfHngP00Tlx6vnJBZlijmlLaFYlQuhNtDy40bzyeYIIOruuowYQ73IEMnsWIQINJa5rE3nAO66wYgdKeuAs7KD6UZSnro2C+bCtaqEMNrS+JHL80dNqANZrIJMV5ePBCbKVA36S55MWSIYojH+X3gGThKr5mOFCwPvaZXogcWNRTdSVYmLzSZ8y9QeMG1p6JZszNggPfrYzHjv/PSx1GBJj1QIh9WzDWMP1qVsckS+jgLhrDgsZ+x1zF2pumJEtBBulItcPgmGa65VMm2DHPHtTjG1w/XZd0rJuPbqArfgUuq7KcU/NA3JyDnOaty16Mfom6VAjW1BdUNr1chz4SD0YeEAhIDl4dXS1bu98VISg+fqwpg3H4MTwBaJwGaMDAGPWgkufM+l0+/toOim0V2Peaf1jqKWHLJXbkg+rYrhP5yzUEuHP0GVJ9wuH/Z5u1+gIEBoHOF2XqHQMbpmddlu2M34afJLfNQ3JcU1NsOVfgaHIEZ655mDmvJBW33xiI7Lm/pYTcqb49dOkt8WKV4Vn7bndmXBAXaJhG9bBKp136A+DN41ESFE16scb6JmFPHyA0fn1FSVz0//2b7PEOp96vVfmnl4qCaEas3rZS3OwP/pV3RUH1DJrHDa0oN76Kr8fHkj5MeDUTmHOAfnEXl9giNPt2DTe7Ec2KQH+BfZUUiCvj/AcV2eBlCZlQYemkm8b3Goa2NK6GYrCm66zDS/XDYWK9UTJYrAHNpOS/y+UBeDDxlzAAkAT7Hs1cyOF3sv+AARoRowv9e9OA1XpoBr3NSszPCQ89rqMk/Po7EZaWQl6e3bNTpRR6bL4ppzeQFTAxXLnE/qgdzy/wGkEWB1nSc+66NLltFMR92kGvThPtH6xtLvMO8y2LsK6B4CCmO2oNba/W8fcJt7OJ7Ys5NHWu6GrwmEe41m2PCcL9SWxQo5OThqEPhykC1w/SbMmyJtKuBkEcEYpSFvViu/FJrOKdwaX1IfALJlOqwePlIJGzvHkaQe8mGi+FW+eP76ZBBje5bcZaRiHxiodzzFGL1i5EHPezbmRqdsN0lcelzPNDTW0K/nAZA6bqJ8JDLvN424VSW5Cl53NZddihGNwVFcB60DC6TlF3d2PWmWA1PhkBE+yxV8qi9lXIeA4w+xDp2WApZ/LiGvqks6Uh24QWDB5nf9Lptzm5bmYg69wAymmUj8lY+q/PdXTTHF78D2noSx7JywuUbmeV1jesksYn+msYYYuoNWhvI24qa6WmaSHFlsw73090qNSsMaFARN35EP/90GTlF6JrhvNyma3IJQY/XcGWM2WFVTb2xEGnpWKvWoprbqW1RoMqlOmJaUXY8qTcv+sbUyhcermny7A3HWbGYOvyyXY7C7cTlCmHcSuW0jWAUtqgj5k2FDZ9XYG4NsD50LbZ7YUBfFOvQAuoD+u/sbdsarNwPMxigcVZigqOXV78AcF0eZLkZvfVkAvM4RvTuWbH7FqAhjHfukfSQyofQD5ocDFevZhJtuyjXdnNRkkjy/JvcqWextIQEbNaPZVI6HwoDDTASK3vpQdifSGLEG+uwkXTWRuzVnGkjzqRsctOMLpM93LpLhgemcr4wSlu2HG3A4ighU4fLl0bJysXCSvz0sFbI4lx4FhWs1tiHJLE8SF8vWkYa14vwd8mot5hqzg7WVlnZkZIktxGnsBbLSnPLFhwSdztCmRQdhoMKJ5uJQWg85UH3I0WyUqMpRpVD/wasENHubdz6woET3QZTr81eCkI6jqIKJjW6DgX8PFo0iPvGgj4NZ2T/bmiw9AP+W3tOaobIZ705jPxR4G4kZjyENhHynw2BOR8QDbX3UXe1S/hxN7aMvWZ6WDXPJIA/8rSre+SNJaZsQXQ1frR+KHh/OavI0pTieI8FBqXZtJ4eGiekjioFLvTI81qP4dV5oRpFjFS0W5vuDQl0D4nfhrKo8Lib7PRJ0I6CPv1gb7xPFWWRz+Jqj6oN73JW057VJZStCcp7dSxuECpg+SxqxKQMHuvwTfdcLsH3aJsebeDGPncf8cdHCSIweOiWxtjYE/MBKouDRiGnj8RliowXWfnAfauyjNeFbZ22JGeL2b0WUl5KCj+ntOxlkyiBjWBdZo3eXoTMKgrFkw+I6cZEL7Okwyt2q9/uGT12mt7/eApDfqnYdlPcbSSKRYwgG6iLIVtoIIvM/SMMajgSM7sdgVtp+0Re50Z2H+ttCNDRU2tExQdIYpe7s1VMGeeBIGuxEU9Bt6yWfyOPccBbUE3uB94vsbgdXZuDze5+VXg0eZPFG8McvTJBSJ5YwmTcBOM7boHv/udqoIvs3ObES0zgLcaj0Ue4L7XcxjZLV0X5U5P1nPKWkhW4Fx6OQn2QJJlOEejOawqy3yP/C7PTlTLgdaV170FgpQAa4ntQyZVBmkfCLaWGg9CsWlNGf3PphW5bQsDKKcNSu2GfKxPmYa1Wahst/AAIXe+uu091RPlNHph0+AKztu8CaVuMtIeOgKGAbxsIf25DytZBOyChCIj58gWh7myaSQRYWUsb6urKBNQo66xEkNLp9ct92XuwNSOPp2BF2hKWsI4XCn23Rh+lo4XSGp5faaG2e0EaQxzbY+t5hKro99CXi/3PFWvSw0RnqW6+EDHVRQmtN3BhDu5A71gXfjtC0+yKWzSx4Sn2Inug8IvDilOr2eJiLPLcXii2DotEdh/lgkxSWAHYTmuoHIeiUDwzLQMwGWJqafl0tTxUSzuIZDBP7Ot5LOpy9H+yTvIBKPZUSR/EBKzokKGGHLX+stLT1HoYIiLXOkqeEaG5YNoWoGJZg+vxqZMts5bAwxN8Cb6BLbLr1CE1a0KNUDS9VxPqBr108zYe/eHxhZ1oqlKncp9ycEY4Mf+Hr4rspLLE1TII4/KlJEdwUUYiwvD2rHxLrVME2CLS+nKKsN0wWZO8KYvFgZ4D4t5+UEh0LP2HBbrICaSz1BEhu3MbboA0lTp9Y7/x1EgwH39+7sIN8i2idf35ZyUOHMX3v4LvlCqtO8T7kEH9762jyATGtWlcSZUhVm1seF/NwK8gQzw4BPVzK1PHaKPfkMYKaj1Ip6ePqyEUUKytQQdBQDVOh3RZTfZ+lu8Q6mjg/t6MSB2LemC5+Mv32RBKtstdi+SBBfvSxmQuG79JJIaOYg8pwip8UEkmw1wbK6XVXLjZtME42lIckB8zBEYkKD5f1vd3eTtKYqSJQYXqf3Cgut7b1FmBEeInm5dgtJlKECL+3u/CmSf3LNzDOFeWiVZEbVzrvCFSVQHiTKgb8KW9fRPxFxEVkzOEWnVPewXKbg/wQT4ydA6NswCbWRpZJIhlhFdJ4L1BAKVai1bo85v020IUUE4LUf4XLPj97lBI2wAxpVJsKgL+BXuGrzpbMIRteO7rHYaCgT7v5P7Bx1RNt3LV+9MZZ6bxcYHuUs4ZGWBqlEG06WazkRmi55JP25H5ueatEzo3wTAyxMmrgiDdD0h99WQWlK+okB3eKn7TSolSwgk4mwH/lHWRjzVimIe2QHLgsTvBMNOFY4ua8k4dJxNHjTX6mxgfyXh8nrV01n18d/jhbLdriJky4y8+9YgSkpqFkiw8yLxGGUaD2yf3sgPSXUz3Ybz08v6rGqjU76MX9x1/powaSw3fmrUjlE//rsQNzjAEmrcFR3AbXOy9i4c/he50/UUbZbnKNsmkJkbUMzZFnuUSZWkuPxsZXhCTs7oh7ImZY0GjNFLWjBq+EMwaN5EtV+TwADCKvkpPqxgpb8GBTgLLd92Un5IL5d3s+8zAC2G25C1dA65ep18TvoU69Rrv3dP7GlbZKoJiTuhkfrX69LoTCca2LE/NkiGhlt2rEiBVGDiEKZRfxn2UefF2cBx7AmZuhEbfdUsjgC5GtT72wObQH/bkp5xXx0j8O1uuElrH7U0kUkxVNAtdW+ayjyjIE9BSwj8XyutzY7gRzdM1XoA6xuQ9Wgo8pHR/2imMmVRlfH7dpBgJjDjTp8vDDiogW8W/j94+QQsIx7tPcjZJ91+yvo8ErXftMIoDiz+3gwbV92joIJ2CXPzabj9guozF/LDxo28lgFNLz/Jzwf3nEbI8Hwdrj+2QRaJurgygWYJEjgjqA1x6BkSXLkeWMYaoCa37vCXLbIWPq0Hybg7oJg+36AnkEGU+yIE+EjxUAq5pvjwa9p+FwxjKYmH2vaNh6TWCOevZEiIeke077Q0hE28xMNkCOY6MvYV7ye9aviGE7sgi0+rnIng1PdLgaIiS9s2gxeMeSioF9yLUqKiKLYLvhFhVESebtu7wycl635xTfBfYf2GNZLVnFm9fMkMVdtDmaxB+EKpUwqwCIxqrD9Uc0jA8VUrRno08Ozk2hKRcByd5radRDYZcfUChus3DaoSvx/bjwI9evXF7iGjgMD6dl8CaInkuqlanqKWCTXfPOLM6eEukE1quhmANH8XGrY67qhavg1dsXc7q56YgIpmZQkWH+BbojtLcWFL3KNiHQtWSj59ISKS1R7t6qKAWKo50mOBE3i/ZtAtDwBl5pEyN7j3+C7d8b/TaJ5ryMiy14wEQ6t8ATgOV9atcsyHGA+ZXQno9N3hnifffIX2Ez1TPgQaVGeNCIWiCcJoicscBkK5Ah9t4HsJWikssMXnNRsSC/cLGGUoEu2EcLw74hmYlHLNvigVcEwIU8M6RHLjAs1RwCJFLArgomnuLTk3VydONSTsnr/DVtubeSdDyrDctqbWk+ow9X9+kkkHyqybtGQuJzdtyQdeO9J54rBkShtwWzAobGJaLNQIdGT3DBv/se3iUeFUrXX4MyG6eFnBmCI1E/A/fI5V3D4nC80UI+Pq+Emf92B4UIr08Mj9tQAFYyLXhaKfrazQ9e6YqwKoaMqs3E3aPqls81lBE+/bNe/GFazdHon0fD+nuiErcDWi62T+SsSFQ6TenQIhQSKdlrP2yXreekIRewelGAL0bS3bHDHVEzZXzngTicYQEqgY4sPJ50QZMYaQgQs+Dco63MeR1eNMdf0CGapwD+lR1DN8EgGqJGq8kIJh4NKYnFUuUbsT/OId2YH0tuQ12nfD0ALUboVNicSNFbmfKh9IeJ71ovCVhqhWk7jCmAr88lhMZU458Bf7+55ACfCFVvvf2CUeVduKav94KOTpjxuzNg4hhbBMn54zfX+Wi/Yn0JQY4mz45SbELcxN0Ob4h2wsGVr1Q9dJWtu8hwsjMNCwvBjdblTkgVNgLvcNDOxmpGN/iPj9wlq6ydTJgD4c7QiFmcKLUF9uWNHEKlxbf0kgAW+TwpxXmP5fNx4AEQO8EGE2vVaWL7x06h51RgUUQ1otxKXICtSxcYG9TF6UYGWo9X/j8myE6xZBV3APCAxDkWrsTyjg5pN1BIbFnA7vf6Eq4M0poEAcwEM2jjnnvSVj8AyAX+2cSPPfwU04MIzlMehNO9Bk8/hFIXZ+q2cDDzPX35IUbwQyMIA4/3odrdCsoQwRWxRQUHTR/+Oo00t0KW6fNUtBeQ0mX6Vjo46Y8VmNn5eWu2sagXlj9V8jjyyEYPYQJ53uSfy33+nQaHGHYbNQeBiGmvpMZ+B5VkStgsUk+KmhHBXbfFM7RFVlpXvP5w3XwUgRYi5xEiJsv2j4Pioxg4IrwBDkMLtzDqybeFr3KQU92uJ/0UHKCkJ45cKlFAhzh1jq5OJQvlu0PJzSYAfqOakbaeMrFPAPFQQCRm/1WF6DZa5SdtC00KvXUMFXmTVTTLJUEX23mXlv+rEEDqisRb0Xw0Q0gKXQWNhGpNETgRSy5VBtw9dR4Hmqw3i/amIeMEooPn1iycZBLNpj+d9VX+SlmsrBqh7UlDvgTf6NsgyolQZur7n1eHnUcu2nH0p5Oq31SBb421YvKLFHcqD+VokCxHjj99zzy9lqxPLZIon6hHYuGGwy4h2agJwf6HbvjPX1jQ863MrA43qxKVCRJDYy57IP9w9cPNWPws1hHSg9pRn1sIoVPp9InwKoEV4PdiVJXukHwC5d6kWYH0nQ6GmXC3WjyjHs/eIHRWbGzWuuMJ0rpW2YKjkeHwBwGVwgyZivxRGltHazQuIiiv9CjYN1PkyOyTT8g2aCPly8TzoDJcnRKb3ieSFm3N1S5y6LX+cLOwXvU8sfbL2ReSmtMGB37T82nfNGgNomp9bqM2Gib4tdeiQO8BxY3og/0xvINioLMLOthiOJTNheTzz9S2cPlMoLnuTRS0sqBO+Xp+w3f+GcigGQAomvvtqBwCPNYirbHhgkTiWv+vgN8H9TmbFnEepJ8gV+kJZuaGVOHnTkyIL3aqT4qhIVDuH2dSrP840/B5RBd+j8ZEvYiHTHcQ/aCpTZGhQAA7LH+9IbppmjUpDQqCraliOEMBzMO//nyFKNmiQBEGsVD7fqPyrtfaHWCdMPYEsNjSzqDl26Sk/dtSe/PoSYLnrxBF8LxLIqAsUpoaKuzkQZqJsvN2J/CZXpEu0iUbNmwGDR8mYBMEQFgdejBBI3NIhTzgakYOqucMXowiCfU/6ZsmgPh0nimivXo8l54bYlynx9J3/dpVCUdOsxibL8/zjTSnPSUih25uwIJHoPEJDCysk4iYsxhgyJQrwH8Is3ONyILIzMgzXyMgk+JDsHIHDoaIhYD9yAauCT0dDAFwlH/IZ9o+Mr6eCy5a7M3oYYFzrUakLBL2P5hIF+pUaNAPdVVbr4MjZ+WJSxZDZQ0X64+95h5OkrbXZmVq0AXcogqRzWj67ACMAGXd8GhBsjqtf8wdJDFmQWGheZS80jvuGVsCg/Myty9xtPiwCfEQjWY43cq07kEW1phE12kG+glPTRb+vKYQWQEOhR9e3SL6wlbMBw0LYT8CvPDav8MEgz3MaU2eP2Bq/J0hjuG/vlA7Ymp/bEuvCA+YrBKBzNg+sR18H4x7zIHOpdtSeQG1xUhaZI7UH4+FWYJDn2SwJ9YFpK6oNiJZo6bFJ8LiNfU1J5KJd6zeum9t3xP8AloKzHGKLkbl5cLVuo9IASXAxwXph4gT7DPZ5L06k8waDqjtcdspNgrfs9KHdPscFYMbB1T8HHEOx92rsiEGYZjaUkiQKzSJObhT+4zxrr79P2r7dJ+6Dolg1yKfjjuQa2JUaCd6b4qmpXnxxrbX8+WIYJL8nrZiJCtPumPdlIK1sEOp3AUwu3QUMfuCWk4wJ+5rOLxXhqFCQD6Pezf5/gI5EyUsqOtF1cgY7lHTpenWY42O6M+JguI8ElWUU/0SIH3BXjXn1YZ9vq5J58jagAtuZ25U4Z4FLM5HTwYo+qQcFo5JsOVLdzKRvHCqPsWccel03JKvibQF0CZm8gr+JDvmFtqBxDqSrjcvLp3fuFlXBCB6FP/hrsS9AAGpqM1fRL5/r/bYjBjePLoPVnFA4TD8pjlwUfr2pdmL0IYjIdUFdYWz75TiWLvKtw/60JJTGI+v8jeHgUgN7Jzv3u++EUz8Z4tsH0bBJj19VTbwS8EYdrcfT2J5Si2gxEM+CxpkARAulbi3jv/5wgtVyDR6qP7yvaDoqxCbgDln1I3y01o0lBXOlxMn4w62zlxNc+2PXYIQ9AMg8RqNu4EterBw21neWXYm0TJkHItRllyz4qmtdVvK4S3KxMIGA2XuVQ8jfXmO6cpaM7HjPdz/fLvQSBM7VmbJW/3j3V/rRtjmP0cExklf8dCfwBtV4AXDEvTCf2kg996fVBnptb+FYfE7TSW1Bz7UgYg772fUGiYxaU5PJTc42MjEFj8COcIs7Uk1/NVYBTV2OjltBv8o/G51dWLYlKQsDJIUzK+OuNz92B7HhWGeeKRvDpsLQSnvbLi9J/01zaMnhkODDmcc3TwxtN7ByRmXIrniDR89C8RQkUcqBuqPJxWQeTApNUc2OsgDtYqDn3LePeUdagZyME7uiUvWR1BXVfFsCyp6ujM8m8zFnZv2h0CJu9WmGiepJd5pmhyRbsVzY6Acgn6KjnEwuAANCOc9eLpgJ7+StJUNEBImddr9pPUS/yqTUVyiarIQo2paEVWkPp3wsa7RnQR13q4wbhiQ9n2h8lEBu8B68zHT60Z6xRzCMXKVyFxtslzGObnYdRUCBbuJQhZV7glLJCSSThdZwZU42YjfaUsrlVnYHeFMeXnInVY6DZraqkkkR4+qF70QbsURW/v5iRpRe9DEXHv1Jgz6zJ2km4VHfS+AWNarwDqQomZXC+WGqzM2suU/Qzior1/V28pniGlhsFtfXy/enserAfBhF2JbhgUbOaQSXRo65rujEXK6ut+X9FKMqLbpH6p9j0G0OoEs97v3AxSYxhkcWcCETYoBrwt9S/x/QUDjraTzjIlJ3AKMJvzRX2E1KpTVLxaFnQ2SuJxsO/HtQHk5gj2Um4/Gds04w9ztjaj6atCDwZhVr1kEQIGGQx5niA5wdYZMiRilTz0H4QMCRzukvS0H+3pBX34Cyn00q6NBWw5sc6VHvUsAEbXLU4iRa8+U8z5Y4pgemNw0YwOS6tm6y/lBPYd9RSb2qQH1SPqYcIcqJLCHZESNjSXf2LOo243k4gLsywpHStTMxlzR/GleRmBVmZs3qQa4bUXUdZREcCpJEaCFh/iil4DAdxBZBDazmZGNlS4aeU6JlB4/Gdf7vbooPL2GnhBsw8mkI+E8PU310zyjFYH2v6R8JrFyqwBHFi9P2gcz6O3Gcm36q4reMQrVEs3rmBOYwadxxUsUb3UJ2Gt/dCsttBiMjUW7k2q0zhXiPow/wkMLNtbOdJczzDbjlcaExrOusOakIHPghSSgl0d9pu/LTbeIk7ibQc9wzdRBT7cH87BbaBgFyX+mm3CThRCKcAJ7RYQj0G5ylP92Td7farQfUIoDK5ZmwjtlzJy1NYo313l4EIrkjISId1QOVAxcawBQPgtexue2s5yBoOTk2WnoXnkFlmd0L5JsNVx/hfj/pcOKqAhlxZ0b4NzvUvpzjf2ok8hC+XEEefoUqV0v5m3MS0xiJVeLTrVEYi8uKMKfgELKMCKcElc5+eNbznyjSzArbSb5kX5tMeUAV8oAsTUhdU7wwNYbW1ZzZDjflJqzbhWjxsNriLTmoX9tMBnP6A8/IgF7AY6R7w1icwdIGEQJip2yylsXUhodMEGVjShmUwP6UqkKfIebT5pAFdgsifrJOXVAZ9UX4iDWW3I0tllCpA6TJhD2H6Jb7G1UQDvFSFN+5tBFZowVrsxHWEGO2Ng9HCtLbw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87993" y="1593705"/>
            <a:ext cx="7968525" cy="400603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.0236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484011" y="5693339"/>
            <a:ext cx="8071714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LIBOR is a benchmark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terest rat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at reflects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terbank borrowing costs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IFMA is a benchmark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terest rate that reflects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7-day borrowing cost of highly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rated tax-exempt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ssuers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727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 on 2017A Debt Restructuring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96875" y="711731"/>
            <a:ext cx="8137525" cy="5678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</a:p>
          <a:p>
            <a:pPr>
              <a:lnSpc>
                <a:spcPct val="150000"/>
              </a:lnSpc>
            </a:pPr>
            <a:endParaRPr lang="en-US" sz="1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 March 2017, the MBTA entered into a direct purchase agreement with State Stree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211,800,000 of Senior Sales Tax Series 2017A Bonds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tanding</a:t>
            </a:r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is agreement includes a mechanism in which MBTA interest payments increase if the corporate tax rate falls (“margin rate reset”)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gin rate reset effective January 1 with passage of Tax Cuts and Jobs Ac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TA can (1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y higher interest rate resulting from federal tax reform or (2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rminate the agreement with no breakage fee prior to July 2018</a:t>
            </a:r>
          </a:p>
          <a:p>
            <a:pPr>
              <a:lnSpc>
                <a:spcPct val="150000"/>
              </a:lnSpc>
            </a:pPr>
            <a:endParaRPr lang="en-US" sz="8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R Solicitation</a:t>
            </a:r>
          </a:p>
          <a:p>
            <a:pPr>
              <a:lnSpc>
                <a:spcPct val="150000"/>
              </a:lnSpc>
            </a:pPr>
            <a:endParaRPr lang="en-US" sz="1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ty issued a Request for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s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"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R")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ompetitively solicit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ds from banks for public and private market replacem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TA requested responses on two items from banks: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provide a liquidity facility for a new variable rate issue, o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onvert the existing obligation to a new Bank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</a:t>
            </a: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chas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2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75673" y="6516358"/>
            <a:ext cx="2971800" cy="24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</a:rPr>
              <a:t>Draft for Discussion &amp; Policy Purposes Only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4150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ed a Competitive RFR Solicitation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57200" y="990600"/>
            <a:ext cx="8077200" cy="5093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R Design and Communication</a:t>
            </a:r>
          </a:p>
          <a:p>
            <a:pPr>
              <a:lnSpc>
                <a:spcPct val="150000"/>
              </a:lnSpc>
            </a:pPr>
            <a:endParaRPr lang="en-US" sz="2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ted to over twenty (20) bank counterpart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ed bids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quidity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ies and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purchase proposal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liquidity </a:t>
            </a:r>
            <a:r>
              <a:rPr lang="en-US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facility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or Stand By Purchase Agreement (“SBPA”),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xists for variable rate municipal debt and acts as a backstop in case debt is put back to the issuing agency </a:t>
            </a:r>
            <a:endPara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e banks flexibility to quote based on credit availability for the Author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ed a clear framework for comparison of responses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0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es to RFR</a:t>
            </a:r>
          </a:p>
          <a:p>
            <a:pPr>
              <a:lnSpc>
                <a:spcPct val="150000"/>
              </a:lnSpc>
            </a:pPr>
            <a:endParaRPr lang="en-US" sz="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d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s from 10 highly-rated bank counterparties</a:t>
            </a:r>
          </a:p>
          <a:p>
            <a:pPr marL="741363" lvl="1" indent="-342900">
              <a:lnSpc>
                <a:spcPct val="150000"/>
              </a:lnSpc>
              <a:buFont typeface="Arial" panose="020B0604020202020204" pitchFamily="34" charset="0"/>
              <a:buChar char="–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bids for liquidity facility for new variable rate issue</a:t>
            </a:r>
          </a:p>
          <a:p>
            <a:pPr marL="741363" lvl="1" indent="-342900">
              <a:lnSpc>
                <a:spcPct val="150000"/>
              </a:lnSpc>
              <a:buFont typeface="Arial" panose="020B0604020202020204" pitchFamily="34" charset="0"/>
              <a:buChar char="–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purchase proposals for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A bonds</a:t>
            </a:r>
          </a:p>
          <a:p>
            <a:pPr marL="284163" lvl="1" indent="-34290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Garamond" panose="02020404030301010803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75673" y="6516358"/>
            <a:ext cx="2971800" cy="24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</a:rPr>
              <a:t>Draft for Discussion &amp; Policy Purposes Only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73424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FR Responses and Evaluation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33400" y="1066800"/>
            <a:ext cx="8001000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150000"/>
              </a:lnSpc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quidity Facility Proposals (6 received)</a:t>
            </a:r>
          </a:p>
          <a:p>
            <a:pPr marL="0" lvl="1">
              <a:lnSpc>
                <a:spcPct val="150000"/>
              </a:lnSpc>
            </a:pPr>
            <a:endParaRPr lang="en-US" sz="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s offer flexibility around both fees and term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50000"/>
              </a:lnSpc>
            </a:pPr>
            <a:endParaRPr lang="en-US" sz="1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50000"/>
              </a:lnSpc>
            </a:pPr>
            <a:endParaRPr lang="en-US" sz="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50000"/>
              </a:lnSpc>
            </a:pPr>
            <a:endPara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>
              <a:lnSpc>
                <a:spcPct val="150000"/>
              </a:lnSpc>
            </a:pPr>
            <a:endPara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algn="ctr">
              <a:lnSpc>
                <a:spcPct val="150000"/>
              </a:lnSpc>
            </a:pPr>
            <a:r>
              <a:rPr lang="en-US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 Purchase Proposals (5 received)</a:t>
            </a:r>
          </a:p>
          <a:p>
            <a:pPr marL="0" lvl="1">
              <a:lnSpc>
                <a:spcPct val="150000"/>
              </a:lnSpc>
            </a:pPr>
            <a:endParaRPr lang="en-US" sz="2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proposals match principal amortization schedule of existing bonds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proposals are based on LIBOR and 1 on SIFM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1317625" algn="l"/>
              </a:tabLst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s remove put, renewal and remarketing risk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s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quidity and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arketing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t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ing required,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al disclosure, no underwriting fee 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d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934363"/>
              </p:ext>
            </p:extLst>
          </p:nvPr>
        </p:nvGraphicFramePr>
        <p:xfrm>
          <a:off x="1104900" y="2301240"/>
          <a:ext cx="6934200" cy="67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78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78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84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4640">
                <a:tc>
                  <a:txBody>
                    <a:bodyPr/>
                    <a:lstStyle/>
                    <a:p>
                      <a:endParaRPr lang="en-US" sz="16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rm (Range)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st (Range)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46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ds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Year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7 Years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15% pa – 0.47% pa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075673" y="6516358"/>
            <a:ext cx="2971800" cy="24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</a:rPr>
              <a:t>Draft for Discussion &amp; Policy Purposes Only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67138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Advisor’s Recommendation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75673" y="6536594"/>
            <a:ext cx="2971800" cy="24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</a:rPr>
              <a:t>Draft for Discussion &amp; Policy Purposes Only </a:t>
            </a:r>
            <a:endParaRPr lang="en-US" sz="1000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4783515"/>
              </p:ext>
            </p:extLst>
          </p:nvPr>
        </p:nvGraphicFramePr>
        <p:xfrm>
          <a:off x="2971800" y="1274083"/>
          <a:ext cx="2982227" cy="727353"/>
        </p:xfrm>
        <a:graphic>
          <a:graphicData uri="http://schemas.openxmlformats.org/drawingml/2006/table">
            <a:tbl>
              <a:tblPr/>
              <a:tblGrid>
                <a:gridCol w="29822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254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ew Liquidity Facility 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avings</a:t>
                      </a:r>
                      <a:r>
                        <a:rPr lang="en-US" sz="1400" b="1" i="0" u="none" strike="noStrike" baseline="300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  <a:endParaRPr lang="en-US" sz="1400" b="1" i="0" u="none" strike="noStrike" baseline="300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80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4,161,000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07898" y="2001466"/>
            <a:ext cx="7723573" cy="472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anks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re bidding liquidity facilities through previous levels as the taxable income received from the fee revenue is now taxed at a lower corporate tax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at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uthority’s variable rate exposure remains constan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at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sets will more closely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ack the tax-exempt weekly floating rate index -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IFMA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tate Street Bank SBPA provides diversification away from other credit faciliti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ecause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f recent Tax Reform, direct purchases now carry a higher cost for banks than liquidity facilities </a:t>
            </a:r>
          </a:p>
          <a:p>
            <a:pPr>
              <a:lnSpc>
                <a:spcPct val="150000"/>
              </a:lnSpc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49541" y="865257"/>
            <a:ext cx="724491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Pursue</a:t>
            </a:r>
            <a:r>
              <a:rPr lang="en-US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Liquidity Facility / Variable Rate Issue </a:t>
            </a:r>
            <a:endParaRPr lang="en-US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6875" y="5955268"/>
            <a:ext cx="7710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1. NPV savings assume 5yr facilities at 0.32% pa</a:t>
            </a:r>
          </a:p>
          <a:p>
            <a:r>
              <a:rPr lang="en-US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2. NPV savings calculated assuming forward interest rate curves as of May 2, 2018 discounted at the all-in cost of the existing SSB Direct Purchase</a:t>
            </a:r>
            <a:endParaRPr lang="en-US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5496" y="3913257"/>
            <a:ext cx="707550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Do Not Pursue</a:t>
            </a:r>
            <a:r>
              <a:rPr lang="en-US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Direct Placement </a:t>
            </a:r>
            <a:endParaRPr lang="en-US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1811653"/>
              </p:ext>
            </p:extLst>
          </p:nvPr>
        </p:nvGraphicFramePr>
        <p:xfrm>
          <a:off x="2961373" y="4287520"/>
          <a:ext cx="2982227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2227">
                  <a:extLst>
                    <a:ext uri="{9D8B030D-6E8A-4147-A177-3AD203B41FA5}">
                      <a16:colId xmlns:a16="http://schemas.microsoft.com/office/drawing/2014/main" val="16151123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irect Purchase 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avings</a:t>
                      </a:r>
                      <a:r>
                        <a:rPr lang="en-US" sz="1400" b="1" i="0" u="none" strike="noStrike" baseline="300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lang="en-US" sz="1400" b="1" i="0" u="none" strike="noStrike" baseline="300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510932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$1,009,000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2127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5389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Consideration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57200" y="914400"/>
            <a:ext cx="80772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action complies with MBTA Debt Policy (June 2016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R is currently in process for a remarketing agreement to accompany SBPA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onses from 15 highly-rated banks received on Thursday, May 10</a:t>
            </a:r>
            <a:r>
              <a:rPr lang="en-US" sz="1600" baseline="30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TA is working with Public Financial Management and Mintz Levin</a:t>
            </a:r>
            <a:endParaRPr lang="en-US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75673" y="6516358"/>
            <a:ext cx="2971800" cy="245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latin typeface="Arial" panose="020B0604020202020204" pitchFamily="34" charset="0"/>
              </a:rPr>
              <a:t>Draft for Discussion &amp; Policy Purposes Only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510042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hRL8O4GLkjAm7CAK+FYXJzxiWaBsup2A26ZJTxGAHu70iZx1qWLITMKA9q9kDeVqL3Yw+PLKIklOozQmJGk9WXgUhn5aRAOv6C6LkRFoPYF76u8M94cfjm3VVRPg6ukZg3xR0k168PeTsOoUXSenOKAO3z5T/a55eOLN3FxZyjmrHD4U0DHzwWvgNIk8JBQde4JAPwEdYcqRUyx9io15ounJQFo92YW742Am89Us1T6iDyXUswhUp8AaO8oQupLY1Ul7QuuzxKEefYfhO6lVaSehfmNs3jIXOieMxzORvYvvvZL21febv6CoLClnNzI/7D0+uWYIBuRoKvGfTFyTuvHRvzz3BgSy0JgkQtECTOO88Ju/YS2y1awsPd1gK02WLYEjbm3KXpS2uzk87igSRd9saKD9hVF2wsaFJK7R4YXWAoKv59RxdmX0bSh1SIdF+KTiFPvDlr0uPBf1JXI5P0Untrwh2zG2cQVVMO28xNtqt4nJ4/7x9KV/7ZAQkhACCMoLtRadKT+ygSDZqzFRNkhzPy4EFO9EyKHGiSn7JRfFS2g+keEFtMYwoAfHHgshcY2rgLB2+Y/bMfgXByZKPvcmRt4M3N+RcXMba0YnXxeQ+oqlWtfp66GT+YjDFXI4lBDY6LfqE2tRbPqlHAF2L/ATijScZ5f8oy6Ot+TfoWwWfRi7R/MJKXtzq/R7NuOG8ARQT/mx4cawviDLB7lilp9LstUPlxXJQaze3Z6/PObfCvD31Y0T7NUTxtdNSilGt/ZqAr+qCoAS/Rg90Jt+lInSs633vQYTbUDVioDKygSg1TBhG3zM6YzkSlV1JDNrl9YRskS7pCRDKw6Rf8IOmAkuHeOHY6c+m8Q8fQMwdwtk84DW4AaEspY2hGmoOnAZ6N2BJa3myHD4ZvHZl+R6UEWekJ6Xzu9Y/UYb9eDeXC+J7wHGiKsqDGUBiW1zNST7RCSY6dr7KAtfUcCii30+d+VVpR4mT/WCvmnwpwsHBLT3tJXY2ihLvlJ6dzSqzOV2iHH7kisv0SxRebNvc8OnCGSc5wMpr9fJzmGmuBwifZPI1IZcfeKpmX29eYyv/Bqf+wK3qBI1HPD+fs2hGumsu8NojYTs386S7XhR02vLFRNIuR+QU7B6nbKvZGyoO6kqmLpkFiiDFJZSw3onBjIP4L4tgp0EWnudnrWC/yVTk6kM5zBlqAlDpwn6IVgK+d7DICUsovNchu58QnQqJG8QibEnY5BDEHNW+s26/JA+VI20VZRhHTiAh5GLbbZh7L2AM5BnMW+6Jit76fvp9PY9KW6rPoxCbbqKvsQ05m8GftUwCxDTkPcMtS6elCrV5ceLxcH+6uOLEc10yZQ74R/rlv4OYWmGJMUYywz8NQWF7l8c37CTxeH70qabfA5yijatwrb1S19Fyme+sbX6RhnFvjEJq31lM4WnmdYsf2yqRVbUFz9TCYBiC3Z3+iUfTmNYUQxy+k5jVbdpMBsfCO7EmcZy5Djyy2+4DpdyeurzjIYryvsumzBlwG1l/swnHr9qOh6QqncnfubNyn4SRDJyLqbu6RCusJw7PzZNI9xE3S5CQR6gUJ8XqBn4KMg2qTgWP0YHBUTHj96q+YKFEDZCX9NFf4GPqRXfiw1VnIgqpOzEhX2JHtXYUhonf0VYEeQ/w8R6dq7L+8jPn/UMWBkYqpjjsHtEExEmmxFTaHdEqWkrf4UwMTojLMzAUSINCt2psqIsVvxbH7xavsDCWWe9HatZeHQdO6Rt3sdi0h37ruGzjOwcont+zoF1UhGt5N+nL/XamWGe5ltnVLwQyeRm3s9Cgx1ZPOnpImuSg1SeYodTZ5Fibisbc3K3hP8MLQ19ng9h6vIU3CNRAPozdkpMWI9pq+sbllPJ/EQZetWOi/+j7odcO6ru0cFaM2lTqUs6KBI0Gzy57WtAdhSyrGRobRD+mO6idVTQgeAjj8qh3dS0UUncxqBS/C5C6kO2g6r1f1PgU9mHgAsrNA6oUALCeJNG5LeiSSkpHNrKa0RAG0gN+3QfxkSmep1Ug4eD6tCd2uTaqaJDfKxUMFTHenAx5UluHiongp2hP2bPnLH38c51OJpGrt7SwyrNpbR8YQgl22Rne2erG3Ayhb3t4gTN0B9cVIuoxP6iWanPiS4qZyIwrj6AWtygPUiWPuG5Lj+cDF1Yew6E9X1XwvNMUJ3uYNZbmR5S704+I3PI1SMzS0/wWhcM0qIdm7iG2fEWRTBZDnw0ikDkeK1dPqIXDCKPE9CRz/ipK6UTyVEODPFsXbPejRjlLjJe2J2EkhoaMPlIfBNAw3K5YPPC28651Y0aseeh0cBfGIZWBL/5+IZD8CAmiXR7R/2R6MbSl5ngswuadyq4bmjK/9cjNHAZEKefh1CK1URvW4mBEUzDUUuIRvCgfKGRmzr8OxbHdD+iYMLAAmNhGeKr1zHTHlpRJP6Bt0jwmVq86vBy+Goja1rxwjM1ML2LqxTkiZSZp01T+GYi+Cxk0fZTaNui6Tu/Dr2HZPMETEhfqhlMcYw6v4BfjxiHrM6QTjx1l/rXzJmqHz6Q12riTbniFj2vqjKfgIpXhAsh9Ti+H3x0DM7+ZQI58E40XFkuufBeR3XVoGDasBTSbQ9shL1wBh6dy2xqamtIkyJhMO6MF2qsHVEnyELZVjpzTsPpQyYfNGn43qkAykmewO9xHUTsAfVqstV0fGcZS4xBBua7MDL5fWfHQMlYs8l5oycfVEUGKdybWkeTeBtkunoZGjIWFnFx0b0QsAa99wi1GBNdhsCHC7hSxtug+2TWNmvRGExMF1ET9x8ffiU9wHI6MXYXvVNrwdP89P5YzwLsxVVJeCVJgbbEbsfN/blV9fuOKXdw48SOmXRZRCMWQUoQAMZFz4ZO8oO477tC2oXqGCF1+bli8iwLS/JIb6B8KcgbdH2U1cEkISiGY/cETjC9JjHo1IdjqtJ0wM2wlykyceCJfYFgb8n26o8sKQs1B0wBXszhC3+XQJ8GhaBC52eiuElO9OH7/CNvC2U3r/IRxR5RKAYKLGQ8qrqI0bqRkTtUti/iPMv3N5oacdbsBzIjtOv0ELb4Xk+ISlo9r3LXpzXqGp9u+cAdceP4cQx6C6trrJd+Hc6EVqab7+UWF7yd7vV0Cu5+1lc9eA44WP8Ni2uozSgIjSLJa3aOCtSmGbS+XqKj/jG4DeJ/MHjoia939sa4NcF4lWidr45UERW27zTarP5I0x2+1xPlE7uqenxIQESEg7HIN5uzjmTYEQbss7RCfu9okpbeaAwihXv7Z5PSGgttwfHVjYKhslRq6t0JBq7Ayhw8UwSs5GnGgpz5MI4eDAnq+cJsaiNfWQXp5lnaF1TTijwvlHVhK1nmA0CBxzsaqwFT5LlcGM6/79vto/aKomFQdGf4Y2iRzAwJ//beDaaUss+UyBxLjxnw/NBoHDXcAMqT9Aw/lQf77/gX0EfwXrYtl0p97gAJY4tvOw4/c/mDfIXGih+t35x4PDHIq06REz6hHze+SU4uk6VN7MVjMvNbs6o0aHO+s7br6j7H1WAeRp+MWOIKmvkCvmhtR5toWJeadBqArVLmoq2ZhaVB2bRaCw4aQsmR4ZJvcO5YX7CRkezE1tRvojXWFHm1jvTjVuMRC4Oco5QuvmtuShJ4jb7i62Z/bvK7UCnJXZnAEJtcPteTvq8sAm7nZHH3/XPWBBxQvQr2HdCs8L0JJ8AhDQBfrxt8cF/1raKsRy+XHQfJujYt1qCOXD34vh9PGQ62CGdm+o4XCCm+zQ4unbKsMquyeALns4N7nT6Fc5aaDddJzCwg5GZjv1fhmanO2tmx7EwoBNp2vksbVYeUlLOdcbuMv54wZHd8XOpcV+4+ViLUhZ0uUTUH1t1SmFINCoj2YYPR/UaDCOuW5v7wXruqkLzpkO6QiGqnILKjkDube8ps2H4M4teQo3GMo/r/XAUm1qx8Q51hwBYli9hvL3xzoZPnp9Mjc94QhK5Zc/brBQs+fQ2BL0FnvPTFqLObSiS8Yu521z43vFAsRyiv8tthfHyW/ztn7IUk2ZodhZZb6AsvBjDbVIBxyU1+LU5N1RFVa3QCSlHUkxAoxwHJ7BQqMheErQXjEmrEReO/uiLSoVKKIwCF6msI0qhE1zVakHBagvO+YWtRwTn3YXI8WpBhpQluHqlBswQS0MDxPv5ak1q9WFe+zONC7D8ZxS6OoHp4iIHJUHqd3oP1E4fYqD+Pt0935Fu591C46ngqBs2Xw/DZexsOxwmxW2XJMsR3chV8cf43yRpaiYw1NUlfNFbujkrM8/BTRYrL9ufjHmR30YH+h9LYteYrNFzf4pTJH8+MPOYjqeUC4FIDI2VgPo5RgOMbfGLshu+Mml8iK2B18jdXIwzq/iUZ6h3l5XjtvQJqFT4+k5P+sagoTCI0+/gJp8jWhXe2I+6nJi26BdGwjQ8a5FYoRidspLgnmXrXo/4A9b55vvwAcGt9B0TZfBH1Qi6xzFQd8KxVNJAswnq1+H+tdyOBhskCHhCcUFwAJS21EhaCboQH/i2nK4xeM03jHtTL62f10KLvhY2kkLo3t8ikQpvBV7BCahcvh5HWoW2OZcLgCmmNql+Ki3XZ0QR7aJl7G3CPlxXjnacPvcAJttk79SfQ6rMsAByIKkzMldE5TS2GF2lsN3fivYWq8p3NxNZ1Vn84lDCYtvEIRayjAqY1Kr2pXtT3dJ8rAW7vCdGZwSrkKYGwqYNFPB/PchjWPLZLMmm9izaORRAeAMPM7sJYaLyOiCRmWln+ozvi6RivS/4r4NMp3I7wPw1Ix+Cv1oxzE8ljJXenhEY/iAsQdYxMrqGYYjgqWkpyUywmKkL82isfDVRUicyslBqv2toyff/wvJECFGOBMESNbpq7ggo+ehfgL7NSvAoBa6ysHyw66RwM03dP2BjMNCG+cPt0LgEqL/X6mVZ0PHsqbD6Un+60MZDIeaXT0b5pMsTJKb6frbkBJm/0se0R02e4kWbKiWyTRm5SZsZi3/qsAITJ9Q7bl+LN76RvF64ycn2jo5LurGdRn/grEksys1wlCisu8aBqdnTepbaftebAqB94/2kaoPfQEJSmN3fTKLf3l1RwJ6+N0Th0fhjp1+jmfRlbmvjnOmsDHvMD+lStJWNLNm1OLyHMozy3tWFGt3mn4VMNECHY5QRlKzJ7MSgJJUHz89VeAPUN0RNslJaMHhz6Bozxn1bqj2Sg/tSacUTC1MjoRtx1z+dBZrhDixuLBp+odEnMSMG4DQus+viy6wGr/z83p9keTwycs9EEugdpGiqZNiUYlY0ryuAsgEQBMO/4Ni59W84WQn93eeTGU77FzFAd6asdKEMLkp+kEi1Q139HoXyrEEr/INNO9OquJ0THOdWIaYhQZCf+SI90jW6L0Ay2u/8o784gNVKWNq4flFlcwS6CkV68tLXtpFp1XvGLITdI4d6F4r4u9GIDYUIlQ5nXo9RUOolZIbNv3CqMMrlwIpnDu58TMYteVwiAptjReVfOwr1TVDAIClVIIyGpkqrnDELpFHEsbx28QBLd/OJcHBqEl8I04ChDgZv+cpSwk4EmHe3M+dc96uDmOUiudrnXimKAHWkqBKAnn8bQ14pJV7KPO3v37RnAfbnqUCJD1YNtfhxTiRy6+wW/UZZvPMaC6XUhZAqJbYfmhXtca/ZBQwK8jAgjYU1p69LVYU5uHwLsA9ylGj4HiPqX+3SBxWsztBD4g1xTM3OB4D3BUsxvUPUcQS3+Z1Vuy4KmeKbfex9dLYb7NwqCIS9yVOTA5y4uMvlV0UrfYJotAwLEr6zwqh8JMX85xpGi6e/nrn6qFGAzV9u6BuOsJraMVjE8zMziJrCY39g9Bvw0BG5rqaTPgSIPNizMKpzPMZ4aTxS8JIiPQ77+YA+q6KJXhf0fMJIwy5h5N2GpMG360oGWBEBoI4RfetwLXnMImnfY6OSzAqywpWXh7xkLDnHCF9KNfB8PH4lCjN/6ZVrlL5njvvwTdXBZ19Ab/ged2C0AVkJW9PMYo8Kq/Adlx7E2TveqptDHLx5IoR5zrkqUsvPlvwS7Cexsv/qVFNSQK+rrg/0TavhYBO6AwtFC1lQgg6+cyXEc4rTPcB3BnYoDqU8mBwhozaxa4EucP94i35TyAcYfp09QeNSaYncgmwPRpxxoPhIZAlEeE4KDOwMQeLPkfEvfxpVuidzAz9wPSapmW4EG92F0X9VhcyEXPYOvTqS8/5hwxFltPhaOoUIwDxLpwdVk36tO9eSSS3LAXp0QMyP5Lg7F4vrd7XMOsjFOKvuvqG2GuReJpte6S3r14hJV3OY9ZDED0F9mQ3rYzVtRWiId17ux8HZp6CfpRjmmY9ogo3jciZ5yXVkiIoMd1VZs0BgJdL1yzf4twLpuJtBZDYBOvucbKvmwK+6+TWVhZ8uv92LSFw4IxmX35SGM/MS65sVaoef6KBNsMNYBH/l2zgML65yUVuumGp1DQ3Lonxk96obClPCfCRWTHBm49+TKMwcQ1lH+vNeSefHSpaarn2jS7fcbCZ1EnfaRksuxd21XOG+C1CgvE98e/uqzxfLKN0VlnFFADDpECbsDCIRZZxbRBMsnXXTfGinr2agS27+TRe0iAgAObWOfvC4UTH8nbzMRgaFVRJRRRISgF3uen7Mto2I3nPEu8rQhe4LsXP+1RfOECm9PdfmiAHwaH9jqePxU3sUJYwwvh51fq8RRPYmxF0MVegVv1LRhpM3+ctiGet3U6bXTdSTJxmBHoX6qwOZFnkvOeKiKnxzNP40NJjvT3FS0De223Ug6LxulNDbxVepFM5ehJqWEGfJcz35LHsp0/KG9V1HiV9PfvSIuP/81XCUhFv3BnFDVTAPxow70277ruwFHu25a5xZQwz64z8HHpiPPtsKCC4nfMukAcyecF40NYwWQPrYOrsFDJxlzAzLEOmWQyBZYZPyeJjSoI3j9EAtsBhGLy5pB8KJefEHIRuN6lPSrIg/xz3EbW150Fjz4uDygbrDjP4PvG9toPEC6DvFXowlNkzrv4f49M+zhJsrUVpaIFibtJ/m+JjPOo0DoiG3uZM10gfeF5meVn6WChOQyqc/dr+Fnzz4YdDt49QbK2bBU24DB+Qt26YFbIaCnQXYmz2/wTRgHNK7zQX3cG2N1pSbqTiZFgbCHdpgvZn9I6PWjC+Ox4x+8k8V11e9tmZcJ4FUuv9UCudAdgF3W7ue9AEcm0LIhGfiweVg5DUacbGDvQZFOt/leXRDfELN+RMYS29Dv56qx4lf6fijJ3FgtIGZZcoKwqNEdi+oHDWsTuOhm23tRbMGF3y2Ixi60tJtaazLY5WyZTxmnET+aqHuj+0XHyrj/SNfNM91XAWMAngybZZp0P0qFmD2a2q0XWQpFYyB1/n9lf29th3Z9kzmKHFEp2A2tqMx+RqiYFTCsBIgbj/aroDXNEJKN03OgntO5Y7dUxmwMDXD+L2DCsrvJBLgbIjXL/x+RbIOiRSirqeIYcmp80fwr7Lb+FBNJICrbvVJe0GfaV1R/3rftQR2fTapPG0J4OrLsakAjXmA2vGVIRrjWAcwivuw8HT16RMPmMrHegYqXhPbMgsGUux2+LaJWTu/48EJxCdyKp72We1v8h3FF/Wg8zIkdI6a/utgjop31W5zM+A9Lejv5li6SJBGuK1ncs07gmBHa7Q4KZThP7RUm5EkzuRCRD2VKQxy4TU3/zId2oksZ6PgAlJH7mZOTsEo03zirH0y8rYUanG823cAHjw070XbrTWSkTHNIg7KP/3LrEtfuDdBAxYR7fwNFm3zsp3VKcBUw7k4F6y/3Q9MtYkfBy3/RqPEEESz31EdcbnZ70RT9ZZg4uFeb/GP6iMfVETDXdZkAs9IO1RSreulMdipxnOOkJT/Wrq4OH0qhIXwUls7XzK03C6ya2+fX3be1q/KGvZrgIsl4Na00LyxIyRW423eABPSBoOQDqkvbBN1UnAnFfeQKLn/5anKSvbs+xkpU5AWz+NgR3oxaofgeZKuLCxh9APqxA/k5znUp/0AMUnHKbBw31Y4nJS0ayE67DSyfRgUb4zzFjnN5QGXkBhAUoANnb94gdERmuXJSwTdTEdb6wzCZ+MZwVuP/8uBne6c1n9G0ntvv+bTvAqEtH7FF58XOz8G49jgswgpT7shemObRE7w59/phWCP0ljHJri0fn74b3QHfdqv5dSmv7yV5erbvst8WYQ1FBA+wQAKnQeHFNcRy1fbDt4kYo5l2t+dHVJj8aelGURaLdJJ9YlHwlOA99+kX+vArdyt2wGHEAK0onAgK4E+c4s/kw/WUk31zqP49BYc+3L5skj5GrdITrVxRMdxwldrFRDkWKKGcykPQ1ijtp20yDLwFa6nVWuJ3Mh0GNeCjtBrzvixpSZFCzkHI85rWDDxDlpII4F9PePMU6094l++x1lPG8JLtzRzN4ksaRNTI5jH/eZ2i8EEhj/5ILpvGcuQ4ocZLm6SfaNclsSA17T7GKpmZsbfYaafu6tG182+RPw8qvSWjbBcINI1okwSLVuuK+lmSw1Uhxcnq7GmHD6sUoR6LC3zdeiYo2e8n2Cl9ps7WtkRbgnYYpHQknntKfo5FgkzW1SgxQHjOw5o8dVVcL/+33woQRfDRCWngU+y9eAN7IynLew9MBwm3jTbd576VJfX+lF4ODiiJIi9wuShV6cvH4S6tc5HSaEYddw/fyWiYwlyqEqGl4cF+v/oUrSha7PjflYmaAHQ4FD4usqB75uX7M7gpPUgsokgg4emxNsqPxB3ua8utL1dXpJDxrilB6a4S2Mc7UVY75toaoUW0TNNY6CzE2hR2T35DRr0VhUE8+OcWreH7RJisWzN3BuCm4EwkihrsHmpnihDByz/ZVv9dVI6HWDcXao4jztjftDcdrCJ3aL7HNZIpVS0SLwIJL/ToVZy36EJHfQ+twelwjLSWtLOCdnh+6OY7xAyhZT0tkcl+5AS1lHHlDPvgKtOyZP2UTem+U97RKqvJm2KKJMLZYJMswYK2kDQno6rovvCFDrvcRtC2sKS+pFlzawnmUf8eW7CRllUQN04HfdCnRjAYeFtPUO5GMATYhxJuXF3IXXze3v301/axF8mLg+7mRs43DqXuwumexSU60rbcjp3uMzGprmY5gl7m5UNHMOnTLz5YdFDqoSWnRjcMdpf94MewcyXL9nwVdyfLmYT86IfqQx8iu4glIe6GxCCCdB8eKXNDILp1lCgr9189XeDJnNcvrYAlIhd7CWvgMcvB+jG9u15YbD3F65M4PdNswMuDiWJUZwUPe7ZSXuaArXjOddXgfgxgJxMsBw31U274PY9ez6IL/IZs/0pGQCHHD9nCNZ7uUUtMROd+Pi/DwgY+pwiYfPpw/gxHKsFtvMeK0QiDRZiGrHmA96TRk53DNTEBNISTRLpXhOHTcpbaumH5rQ0sXJMPVF+OlFYEdHyN4Vqjx6jG+mOp6Q/fj1mFRqt++pmRu6Rmyr6pldWcfkiWyBvrDL6ye7Wb8V2iGnoMOnPBo1YYKyqhl/b2AdHccJPhTeWYWyyKyOIgqRNAbbcVnAjqGO4hDcfftXlPHi1Uewn+vEKt04wfE8wCm6UmOgIv3Mn4qjuizKSqilQl0EbVdwhtFzZ+FnzT1FVbEQQD6okqnTpULvKK9rvIRoS2R1EQLF2bvm8FxtXxO/vvpdoARjoHESnwgvaxyMkhoiABBVKHWtqBZ3kb8FOTtf8mGeENGJEU7v0f4HsgDzoYjAVdW1+zca2p5nK6jsGLr+ErAPSBemdtz4OWe7eADlJUoHKQtwQYp2f4C4CNZPRU/Q0HLbxBDNf18B2zJnStCCJIku5+4k6bCZqiloIVdXMIhlBZ1HtcrUCucUsxVt//mrWUeLHNAar9xaUrrVE4JlDUDzWr6nRPFcSPxNxkM1fxZGMc5GtB/UkYFyYsdBwUk3ikuBZ675ixKPkFpQ7j4VvBjoRmw1kH4iBgwKlPCRIDcejoqpQEa4DaGgYGBoBht9OtaFM00LdJUy8vOc0tt0ZQd5XcqkkVmdqUDJVm8ejjXyNrRmB6vRG8t3lnkl6JZaTBOdEJ2r2/0oN+MHnbwt/oSctPgrq+TRn2Fsi7a80gIfcCzuaQyGTOiUwiWDL3O17FeOSMecc2mt4a25I0J6i5OVMWeY9B9bdfJ4Viy/5MGYdWv9piOOgytNn4tY2L7G+Z12eIy4XYDYc8QDeeYajwzCnqH3qDImKyWPl5kbT4daWXlUEV4sNq0EIVzuMx+qIOgl/MC6nrT39XpfDGFza+z9VtzY1qoqII8FIxon6sEcxxurrYVNK9/27do4qklpTQN6weUy7fXwuAlQysIs4SdiqtTTPx2lgir/4W9jR2Wq1Ui1AuDJV97aMnmdWzBM4gjBh26K69/lXBUQQSnQjYcvj7ncab5ReQMdar7Dcf0j7Yjymymf4sustXUinuKRZLKNUij9iBrbHJ/opEhfFKJ4FLDF1DbduAu8+7cHTeCO00a2OxCEaRiFVHj5q9VPK7aef3zAbnk0QOAysxFmi81kb+DkFNWXZgsWQCoZITWA3AsMtA3D8rqyjkyaWF9n48GVdTjKdhvCWbH4tQouoPrykVGtOiDey+fMOG2gYVjFItNG2SlOBhLiQyymNZMNFFNB5vlUb2Dex5ytDaW58pXN3HcWrA9Acjyljaaa2YEap/2lkfjtFO4joAidsat1vcMy1nruZteLyGGZHTcYG3yIhKOpejsmiLoEwF5gDzdtCcGFdhsj5f346h3OUHDH+N+rQlHpzrw4pqyYD91LKkSE3ShwPovbrk+IZOmy25ho81N8Nd70+rT6yLbvmDDuRSfXj+GZeM4+femzysKBVS0AUz8WMW8Xa+QYt8Bj4J4WvHP/c9KwmvFMCEddMPQv6INuXPa3JZWixNVXbllKatREqML5mBcNRXpKknNSGPrasE9aJcSLx2lVXU8MS65C09IQ8WIlpEFfiDB4JY9FhYRUmtvm7m7FNjPq+loGBPoIq+cHxPZmpn9ltkgk37IPT7IELtT1yXuSUSzoUkPwh5dXTBP4ikcOSC/mbC3snefdK7oYQD+2IMc/0WexQn19RtR5fL3+bVL9EyIGdjg6ojlakDqI14I8biVXX+ahQrhLrTv25Ef24U0veyr+bOJuWXVL3E4r9errgQFPGOc0cn/elILhQ9jccG9jzzpcPxGdbcrhEkKf4pDZQPO4huELfXUO6I9DBaeeeHxA7D4+7Nc9ysw0y7aKnBinWlbSwVmhjHwgh/tL6uDo5fWs/ivdfr5rcw0yGltIIpJ9IVnVyRSmIolrOFpYlF4xmTmfYzfVBTLcndfoUlYvyMDfRd1i9PkKSdWr6mre8mqiz91Xo3v342RJ7nfyweQKj5ZJcgwa6GskAuloyvdl0IAcuMsPviW83YfKJVmn2EmY0VJHV+LYOVRxnnEUBbhJUwXW2aCil+kImkIoBn29Oa6/JocivJswUay2Wsf5Q9CJ4EEdlutwJFyfrN7zXi4cBOuotQRkw6lBxVRvGf8+MFnCETdmzZUkcyPQfV6xjcuOHlgq2HNggZ8OXinD346QMY9amVZ2m240GzBMLVov/QJLL4V+HSe6ZyjmdY0PXl9ZAsUFlY4+xIj/IZZSdL/uy2V12oLdw6i4Qw4F9fsxMTRAY5u6j8Ajhq8V+2KKGTdUCpVQLrw2Ei9sVg4S/a7hS5qh4mx43jDEhcbAO+lO3v+JN/yX7gHxF98yz2GrdHSrWCHbu6JGX7Xp+CCP1VlFq5qvuewMIIb1foAWvDu1Y3MK/N1djXnBTTAWB6/KnpjR1sAbHFMdJjvx6J4VBzR2Xy9hFMTNGdX/LGPm8s8GKcIFn3Dw+vpzzu3z+JP5fJ7ZXAkqlSpU5ng3yJ1WcaqdF8C3b3M8qtVBe0D0b/+80KJ4h4pdGmeRvvmSs1as6awLHmL/rYYJwnTehla/2cXm2KiZQ630bGBwffU2FDyqf+X5WISSqvB+Mz0Rx57GgukCWBIZ7Lq9hT0Mz7JPYkqt/eE5aKVOiwqo/4/hm5vq3H/HUHVDj8lP7CSDM24IiZeUNwKTArE/hC0iwCMB3sYFYGzQqW2AbeA/BX7s+bCtgKPYiy+S50Dzgjw8uvK54Jd2DQesLV2D7PM9JzwnUp/dJstwZnQc0iht8IUx/ilg0Ra4XyW/hJVEqdARVeQ5MlKmOT/OfVxMkSF30j+8OOpsZEgBxHt/L8JiBy34l8P2tHDr+nBrRnGSXW716thGr3PhmVcQ0uVi2gUT/RYq4f8oeR1FgrY6rq++HhmNy4iU5OMZv1SaVNgakxsmJe5RfL/Dqbi9TXbN6+SGK4AkFZdL+xmcbylG8e+IIG/24T1UXwDAbGobRxdMZIHSGWBTKST5YSeuCiKyo1cMkW8SMlH9NNhQ9ZqsHwk0RXxBZLlqApw8lEcQlqTxT5p52WZnQ/dNihYKuBmiCJ3Q7g9QNujjYLLsUikxQUbIbK99oqMtTP2ERwBE63kmCXfERE/IxoJHZ44O9yB6/i2Py4vDP7ioI9oB25wqlv6G1ORtzQjnqa4sWJr7gQrl8GMQvvAh+44n+nqqRgpsdyUOe5l7cwQMoJ3cURJqpeFGGd7GhHujka8H47QUIhVH7tudmxg3KXRKV7YUIHNqsysaJKJi3QgMDneb/AmbihAvkw7J2caFE+Q68WRw8V3fZMJCWqJLUNw+Yag6lna3VL9Av980OXZPqFlpATdqQz4i9acjEntrxWQjGfWS4+PvOHiktbHN82WbZtloYgNw04aw66PNbUe39+7anZ4kqamxt95BLuoTlBw2IcUIsUOV8ivOU1bie7hehcSsMqS1it8ftAE+fpdqVrIViYfQfCWWF9xu9fPE7IaQjzCddF4ltrxkrmFHh6nYJteOL6uojkUVrYOEvEbszOxyt6lj7vAITgOpOSF1IA9T7X6aD36yxX7Rxl0uyXkffFb20cZDvJJ37MCB9GaIpHokOQFEUAeigDCXKGi3CvuaZqRnl1NSKBCy8Ym6nMcqGhjJ7LFSZomzYjbXYBw/n5ddl98u1UfmtuyNqtZbIPCtXkBkZhFu5dTKI7KWIcjmdZNZJy5swvRde9fMoWww/MNuE/Ir6X5MRJ2Z4dtfrX3nVGECvhQNek4kbw4pX+6IUE23+D2/wfFAq3E14pleIZjP7W3fQXDGiSjYXyusnZob3Qeo1GA0OHgUnJzA8dr79PhsghyD6A8zrWy29ZTXsmpmpL5S7IelF2KQOsl3L39BZWmCfXY+cEma1aj8WjwjC6O8gVwS4aU8Rx1pDXVCElD32W3ly1Y60BKeSQOObV44tkR1CdH2mcVeJyynDbi1nvQmdHNp17DRY9sKt6FcUmhEX0FIwvplUVnpylyaoIZcRAblqNVerqLenjL1gDJB3dBWdvFVva4ORPjEJGnZKwcco77NtRljhyPSn2v7ZyHGaYVWAKFUhDGPBGMz3Dnp+UJVlqEIrYyi6H6LFy0gkNLOfjXhwPZ0AJHL0DWOeseoNTb5kmHXKY/Fr5Cwq6N5SzvIU2l7c0HXaBTsmjOb6iBj92d4cshD/GPHLIzl818M4tYNxLA+lDHLsFXCuIuLV/bXeASHr82dyUwaBTlv8Ac8rF3Jq0KD1aRT0F+Cp9acNTahgsTgPAO3qYqZ2B7/62CkyH/+0GQn9VmlqpdkCwib9THqCNtzA23noCzGpZqX8O4sCPUeEtClTc8jsbAAcp06Tw3Ni4ZXaOV3I1MpdCCIMH3VXe947fLTK0kYpVPIgdqptq/4NkSDKUcRs++J8Vm7yQZe3QCZamvE+hb5EstTg+kYx/QYOZ1WHK3v2cNrwWhHOixO/Jx+OR7jYxyvB+9vuZyFUL+Jjti8Klt88+zXwU54Zp7t0TRjYe0UGQWcHHWBjcQQdAkyIsCzNAi/Uklg59tIKk6i/MYIDJq2+RROLihdYCdcdtYcJmIVFwKZNX3cKX7fzVWmPoTKrPprt0b25VgUd1wYljL9sHb1C5zIJkgQVwfmb32409QWP/ExOhZ7MlqXKQc3fBOt9NCq9WnGOzpCINC6DDaZIqUHLWGJZp5jRYdTCdWkQTlxS/6BX6ZpWkAUjeSAc8yEwQy8X+0gzFljK5CSj1ewDGp0pIFVblX5AzZ+2nqmMU8TUmnyRa6cjKsXpdjomKvTZmOKkmRGvn3DFesI2CEh//bcgGkfyR7l+3AzUEFdQxLGEi/E9AFAHwccxRlTIdMsz1YbFrGK+Di1aBugUKiJwdZlGMiet5hQ6/eyBPSiC1FUykFRpNdbLclt0v5/4XSNbPgzsPLmz8v8tELsprv3/CcdpGJd4MC6seFc+wnpAdtRbUzeznYeDs5Q6t/0etNrG/IT57hfoN05bxjay/JkpqXifk/uiPz+nDLmUsTb4gIUy3RqgFfbSQg1Yqr4TLUMB6l9QtQjRAaahePYLNVbEMuewlodXJObzUOvpFVaXHn3jxCDfOUHVrzDmSpGs/VsvwgK7h0Zo+HH66/t+25VrZohyEuoFI98vSctHhTxNtPd5UVgqQdvEjyMmoacn7jXEHcZr7lgrRUV969w/COmiiZLvQtD7uCr3w0BKNFJUv016SfCGm61BfrTPk9TXeH1nK6hqU7xx6BmO8VpqxOSQ4Z72F2YNmFaZpcEDhPUEUIPJtzSDrdmn+dJ4/scHn5PW+/RYdhwR500daJEMBM96udoAmlcoMkVNcnES+tlejoXWY3EpNmigJOUG2d4ZyMfslGHtaIe100XZ7Qu51c9BfzRoBA/0ite1axF/dkSsd5Pf/BPQRc/04F/fgbDBtwdaboZs5I/OaKXGy+HqNoXFJcgdwrhWhLZpDdOTYYj0Dj2/DuiauLWc6kifL/czg8u5cMX0WoFdSWxDQCNKKfbu5jtPI8MqLZ1ai7WTQi5sZmOE1TDA2rdszSSPxH5jM5TX/PY/n/3wlPqRleZ/qXdlNwTKqgXSFIaa9jPd5Bl/L4I18W/e4lKeih1USr/tUfASFb8FyqPbyfErs4YoeNAiF+sgdIP2+GKTHvNVQEBhZtsF4OGiL/y4WXMg5RVlGrwLV1Vp5ilpTrU35Ucx1T/Q1zI4fsxLE71Mz+CWIfKbaAIk+vzvQNszNzV169k8VfvxtbZmmqkHnE92C7sD5Q5vX4CQSFy1lI2oVL4VIsf1PP1YtRPttH98diHa6LGMSXzESeObuMh1jfu+hdnXgIGVKZjXCp/LsZQ/5FRP/74W6Wj7I5IYscOaikNfguht3r34sF4lC9X7W/XZWHn24PSfFjEZCh0F5nEZ5IWIbrL3p/cFg3y5URkoOtzVvp7Nt/KWC3XSFxgaQ5BU8JPjNKifRkOaQ0fv+9PZWWShhbgxi7CjC3hTl+h9E5AHWTf1p9SROKA+MIoNrTOqO6B4Tv00kEm6Q0yx874vbueZ3IBgUZdEWxcBVRWDn+K8TkZX370Em9wSWbPXpnhd/HoA7xNwaFKP8vYe0jMUZY3oCAzrGJv3DXh8I8N3aPA8usL7NcEl8mJ3AIH91uJrDZm1VpDyj42p0fwh7yFO3ekqys+b8XsKd6hxC8K4XTdDbOon3u8/sw//ig7/7QR6QmeapO1UmubrBu7BawFWOUo0M4waiOzzu7NQzQzL9CKnDlJdpg4MY126O5UgfAc+G6ou36g+Zt8YpNqQ3GXmg+nlaYyeW4IF7LADTX7PqrfxQqllB2aXbWqjfpYBL+u/5HOaVoBkVyaUb4LqTYSXEXWyMYqATuGE74vOyr8aA/wytyJkKTK0/yncJLyinF71anAKeJcZzsPYtGwugD9mYdwGtBLFCeNuAoGWf6usGHjKoSCo1l6ie3fyFR7zSJpKNiQ1+fOYXCKoPUY3jUG/TpPmstlRIZxICboMMmzJiCoaV0l/AvRaxVV5uIB1hpWdo1Be3eeeA4wBD8vOHBgnORGIA5XNiT6mtAc9jm+Twjd3OkO8sGFQBY+FOtNZGm2hDw6ZI4yfRGJvF4UqhY2XBSrJqUGkc5X0GPvlauhwdWWw1f+FsIFQE+ai/6cZ1QAm3KReHfYjC7UtyTEuDPgMiB8cZGj7OMkWbU9z8gqkFrvOW+FvAO7RkNCxpG6iB+wFxdY69eD+eT0gjrka2AU5irVC96aPPN08Hre95bJiff9AyG7/OeJXiSggh1IGJr28X0w4W9Vta7qK6a58bvs9FewR+z02ADwdjDWT/1ORTqZcCdBGRHcRQdO4K7EauewmEgV1qr0mdZ3h75pAH4b93b3Ks08DyViYtvBoK08psc+6EXzrPeMo8EO8K+54am+/P+rN0zivlzzv9LaIxMUH+Hvgr4T3Ck41+3ng+8f30Bm04dqYTDUFUlIpoEAb7VYA8+m0ydntYzebvJIKb73jpPyV7NebcV8aE0RqhbdrL0/zrL7Gd0liTnAuv408ODT6sZDvy6OfWzRghuSouGP/HyQBvy9sdvDTbJuopYwInzpnKo6Nwohn5Gdfz9+dhbAp4VwXyY8FIlTC6pXUeX4vkvt54MAizJy1h2yf92oVjZfQu7TEMrpov4slMLkxgg2wBAHhIsYNJ+6qyM8Fvpy9GVP55FSesiu51n5I3BB769WBVMPKFXm6e5uIBPTFqnoW+Nf4OfJaQvbE+vII8RMB2G/khu0oTjh8jbzo/iIBWVqwfA3DutyG6NqKvBsLQYGDcL3MDAtYnVDgB5o4tXCtjHay59vn9THus45b/JI1h+hloTb38sqtnHiNTaVDijjKrrtasrrWO4G/tRu92UdMeuNYcP26xtUIgsvYRYn9iBs2z9Oqb35HqDtVjs3Ps2DKOQ6vSacWWyVIo6LypOc/PMcmZnqJBrgr+hUH5RCCxUJqfQs164SkY+KKfyyBVKCUoBU2vpUYuf8R6tWT+PXceMzZgY/BLnsWnQylvyy8n6HXCTFQCTdNYwhioYftP7VyGQXu7xq5R/ot4hGkWO6t8+RGIVniQHSq55NxbOD6OnAvs3jQcACmuKHvfbLwGsY10RcNbIyUAqgant82oaMr55fdbNkicnu3YgcvShqNYkVqYZp4Tzi/VJTBS5mxdn9lnMaukbXQcrm/kMPh1VAkhLCbkBCFEhD2WrGddi+MDFWuvAJqbD2Ay5Mte3FKOE+ldalE86pJ3T9p121A+N3JvmTrb/8U2utwSA/+75jcjCE9mfk0OolJO6p6dbH9S1u8S1jMetq4t6LirZOSC22tIKr3JL0d9alZmbavPWCVB2OjuIAcfANJLMEA88FKUBaD1cUidpFAkE7QAXmYQJC/8gK5nRjllszLVQetfjn0WIKDhocJpeZtAdsGjs9/3bArDD6O5dTfqJLOA5nQpyIx59qNLXyVN/ag3ldaYIcHQjaMFYh2GUOOkbtAJykUK9uiJ1+2n2M3RqpzhoFhIxTHyLyVefva1xGnT0tWT45uV8nd33XTLQU1Bsd10xMOxjSwDFUBAERXKGBY6VWLi68wbMpPSS7tOJRqak8TnqD92FvAtrsNkkthnWXue0EVrjGqOkLCn02GGZJYv0XJOXdc2yIWm0wldzc1bBKtd2vWlX7TrlEfEsFLu6Yz82ijB7fGQBe2ABn67AnMUtG6uUPiLxihLHA/Xf/5nyW6u3OhLljoRlYQ/IqAvHhZQANsbWkvdNDdpGt11HqiQMUVthOAaQukf9U00IG35xmbt37vcHgT0JskmxNlEEJoRRkqdqzZAm348sdewpJO5KhHSeH+AqG/GvexOmClt2FYpxBWGT+gJwe2j/5Z0E2/5drqq8puaHTa7R1zMeKUMqsHZW5rz9cXCYq7nbGP+rG7B1WHp5RpVT4e96rbanzDiMJJvN3Beq/ytP9UEODdOkbCIAbo0OF3sis9u70nNeXot1QHqhNo2AbzRvHLReNM+E1rPcDTV7r6EvOcbAEpZ5TKB5UJFs3TauxPoJXoUgNH/dRER6Az6ER0QdM9sjbxMTZ62sopDoRgZ0/ipmWIZDl2gRKO5DW3Uoo7LZ/CQvV73nfs435YWstaO2bOXTKmkMY6d01Q/hg6Y7IEGr50KUkVfSC5QA3qJcHfOWzkZ4tyitx9tjMLqYZBfz6HZOTRdHhDojW1p4J6UITMm+wIAcuAwxGtQNCVRZ9uZimg13wh2PuHEvjk3Q1n5HD10/yu/eys5xMUCw8XqPh2f7krN3FxkOaFV5mXYPcUPiATTRZRWPnXQBuPhxIt3z40ee7nxvrbNG/8lbTnVm5RXYblyXdE6uwOuw8mBFglvQe3xagZJ5Gr80V+DwKNBS3dPfjBHd7fDtSdwy89gK8/CuuZYiI3OGZND8OC+8qyv+9iTQ61/2ds53+T6cCQnFZoFokpM0Av92Jdj2IJcxrc1xwtOu+RPTxcwSzLxqUZ6CK4TpXYqtzyEb/1kisnUE3zOcJ2/2dawO1lqutoc11O9HGix0g/+NIn/NmO+JNqGdvW6qlr1yDsObOwZkaQg5aRVCzHNhmbivfPQqi2KgeyyPlU3dlWoT8IJVuNE3/NYk6CWMpGahCAfRFfhp5dIJUYjxSsr8BjouSt3tTCR6p9TrQsGI/O7qtJGXvb++EnGKRnjqcIqrj6KTIDInjHy16hz9972qKiaU6sj60a8QNPrkGKsAhle4pFqpBf+Z6xQLCeDXYppjyO79AseLo4pzrAtcPvoRQAaMKain5JvZId5Swq4epYjyulXVLTXlj9YUW/FYu/0LMrXGd+tBjbS8S4TihgMH+B4YijGgeAX/NW1tOI+qewFuNqcuxmJI6MQE5UfogyhWzmeNJmXrvLFDSnNLJgWuehsbJ+Wwz0k2juLedpWWRP56R/WAv2z1xI3cmGJHXzrJEcldNpMHnDQoz25M8sVXR618qI/2XXX/P9Z7kzKciBNJHLlY2WlrsfvCwJwIoZULTapuQWThIqWMs2fsKnLoit2ZfpuY52AwlgRIpAOM7FjfQN0OztWFWGRG22DcfuGJAoj+2U/Ji8/t9Q8ewyzyhbE/8X4Krk1pKylJzJk1vylYB/iYZe2EJ28etDDMKFBM6XqEFT3VT1A4xhbduooDBEuwN/9prYmFTU9fnou8nisyR9fFOTR3LuSEbv0JPvrW3YfG7mFegxbVdImuy5QTVT7V+B8cq9CZHvfkvYTN8zZvNZm5DLhfRvdtK4+0C4evnBOCl2nUjeSzVHPsuQECx4vE1wl5yKH0WrdYHFbxCeX4FGRcWORlGjwrk9iEnbNxD4+O+CFCitjbnLgHzQsylUBrPN9XhasbubxIKzJT74zxKyWPKQik4ktgmV//iaWXO5UGSvc1GjJS5RuR0/eglK0JjLRNcHbERa09vbA6nEF4HahGV4dYtXxuIZ4hNogz3LKgkIwPUyTltbmOf6ZgcmqtCXnLmeQxUwmEVGsD5unTktlKehtngSXPnb7qFhYyZm6c4aT70HQCkZL13uv1U9HbmgYPfXU05iaWCvhUM1UrwWd13vfhz1plZpsSkBVH4+7rETNxpoCwlFv2EGbnAt3zaA9jNiOkI05fRlhoOMZCGYq+LgXsj2JRNM33kGylibEeBNsgc+/A0AWpG5QGxJXHeRS2/I/IH5CzzAgzI24i0vpGMziaNppQnKJ9tbDvUqMe+U/tuMBWXeSGFWBEe3O1Rkvvo1gsAo8bSSKhiUhl+9HNuWiW8PCnqHb0ntp4i8WdlczIkhN9mVuPiO9DdbG4cFcH1Nm1VzDizBOJzt35dopUsIBEgw45T0tuCFK1UHOBlkAEhzC3z3Q79zOD6ouXLgvQ5QLbvDNvbNvcg8G0xkEdFC3UhyG/k4e3K2Rr/wmukGgDwqbNbuG88TlC7pDVTRAGogdia/FcNSx+pw2We2+RlSJHV+lQ/QPvZtY+JN3anNVyK0sX4fxEEGi9dd7ZcDSetUw5K2G2C1oRYSF82iZMfVDbulLcs9Q9qgYEJLnkQoF98m6NQ1fTve7iZEZR6pYQO1eZaXD1izrNYjhMtQ3GQ31S76fMCKQb3R8LX0GP2y/jqBi1vXclMBujzOJh9Mz4qTr8qv0X9Djt9JIfku94ClcqlMLJR7v12eIJcbA6VgZb9pRRaB9Sn9Rw1wMyQM/cclR8MMnjwRH8/A1XRI4D+NBgf8XfIAvktEqtzl2WvlEwu0IT8KxjryKdLsnOCFkmhBna0+nUwwYTa/6YNA0B2DVMgC2G139JnbEf68urENSiD9IO5SkYiJgXYGESz+LmRxQLzMcvlzXNicGKV2/ECq5AKvItEwyWBCxR0J//Ia0R79gCop2GJxyFTg12iO9tez+MUscOd1fFVTbUv8CEffWvcWL5+8vF85/nLVGszqhWJBhdrBEN7TNNB/uvxccYAdiOzzA4f1xAju0V+Ns8C1ccKHpalcL/N7QoezGbfdsG7ue1+mh6YAJIGjQ/LowlbT1pNjYYIoBeF6imAVcXvP4btvQs8roRN9s1GiPqRmcVQHSuGxnF6hy/NmcmOlwc1poWg0d1/JRJserFVBVNhS/E30gJMxAUrh7daupnGaJuaPft095MRM/pZ/M2+5cDD7W3hjJJ0K077Rq0bpWH4ZgdXaC2032TJIdqS/DPF+bts6ck5gLr9Q+aLr+QOhXsi0MyCPnuurz9jiBGgKzTdDeLVfCzXQG3shSVl4ZOfMj2CHDM1gKT9+4UemVN8isIpfbd5DGXkPNmyZ6U4eRA6YmWr/JBJWEoRu5ggSnxxOCG/cW6GZziMN+2SUqTZvXXM03UcFAwV4yzZlrWpAYL7udYaG2sWjI268NGoeCm7MmI2xD9UMIFzlygAPs9bm1bWYGAm/f/pCRfMDo5JB+n0GY2iPoG8kodXgqrVQgAvlZsphwri+5iXJ7jyubR/9wJD5pswHaxXjSqTFFRhkXNdk56ZQ5c/Xir4leqZLcl2JpXQ3acggfuztJdsZrkxNJ33i+HC8UikTqe5F7TPnhrI6kjW5PCHxINhO6d1/7CmBgZ8w2ZYVZejPA6y3yw787aKfgM4DPc0BmPP5VISyNog5MmlQyQEl+aOcFIxPAe49PiBL5gIEvEOfRvPJsx1BUL6/CHZXrF3vyRAK/++mq71kDp39ahx3glaRc0aB3Z/kmhhHarux2/5K5wosqhsU09sM7STWpT1Xrtar5RIPan+0E2ho3o1WlXnBTso/ioxX0N956HXqgdDbvxvTxy6bNDGSxIchOXyqxORpV7WcawPY4bHHYynYP8WM+j4tw6Ns0IUBZ+MAOW4mDeJ5OzXaUyRzSGsDGtwvc1TtI4PAyk4CW6vMa9axLE0yRaFntITZsywqd23zoKJ0ER3+afxQgfio4WKnpoEii9E9hLCieLWKOwvlTP7Dz21h3GYnJXHsr4Q0Pbx93HIcfUZQsUrgvgSE6LhCULHNbUPzkgkTQCmMGFN68pOBL6bgBBW4tEOQ0jEhEK1GlnO60amZeXTZC2pCDknbTKxYyScbRbWpaZBYXPWD/phe8i3uZ6DTM95gExk0rmxDeOhWp+Yt/ZAQmHpa1AOzBNh3uYI7fUJjUsoP9w9M7NBibQcVKdX9iLBDoncE53t0cP0C4LCMxFLuY8TA1Nrp8Woz2x6iegJFV6rbvjNPK+Y5qjQIuwi2Wheq0Qj9rYJRmsThW35kOCmjTX2chew+FAAc0L3SkXFLedo7I3iAnL0GdeUxejGjxuCveLu9TYn34+HmpENaeCntuS45v7OPPoGPwO1Az9nmbrCarmclJ3yEkhsINOyt7DypTwyBL/z+Upo2ihWqL4mZMM3xpeXdu0+FOVP2JlACKjALNcgqKnTWmQQNje5ku22bM6eIZnlgAWtDhrB1PNIGJVcZmGZ30LI9M1IxNnIeLCfFhzc+OHzXE/aUaf8kaOoGfqdGWi5lalLtzU2lKaW8qMPZ3bbNxlcCze/9LVFAHSICTLue+F0LlkwvdCvOE/zzW/xsermeuuEhnrBDOPpltdYpXN2Tb+DJmcOStd/za2TLokDw7e0FI9d2HO15zGNGzuCizoWNO8MpemMWuDxQSRO6lGJ3J2Ddhg3gRLfGhycvZoPOsf+vq+H8A4dbE1azsIXpJ1HS/us6R9oU+dx6EiR8KevM9JbChYsD9622kaLGPai1ghpKgVQ6tRw1pEnHhqqbaJmbRBR+493/wQkUMkV2gLA8iuqKLTCEE8lXehq1qQhKVHucAZHnzXxwqdKcr3+dwIV7iEFxLwakeX6dYMYLV6Og0V9M84hf/Jh3pAktYaA57S8LgwuNvTkvl2zsWHwkZL/sSRljQcKugIbhDM+XYDz5g9IhfB88+X8/MXq3dPEvSF4Fe/VpDvdWwKEkTyNCBSrluF0T+lT9F8O/k0ivhnQTOgJIxi9WpEQVRaC0+i14nqQbuELlAA6Q0QJTcRLl4j7hjwdirKEMgxQT3JhTya2gwGKWtYlj2QI7g/ajoKMYelufYArVOMd1767qFruzyP+G4klxrUZTdGdkagEvQaswuzuNcxDujLT5ZUsnZyGE+wr2hedNH8bGt0ofw1GkujAlVKdR750Ig3DCz9tHGKpXRHAfgIJvdI9A8QY30loI8QMqsrnrSDaPS3/7Q+YnWgYN0x7WaqMM5wZwEPCYyMvmyP9hDN2B960VfvPOC74DmpEDHzTKmjMSaSHhnD8Oc2ji21HTRG1V9HvjwBtbaMN+DGgfwf1euRMbgfgGEydj/gTzE4/Tpq+yQhRmkD59ryvu04979eorbIMkokiHwDLKpnmKdBOmX3gcsrQ9H1qBU3pXOfRxG+kqgjlpFMPMDMq61ZqCnkk7rDyM/TGtlGiQXDNjjHOPJR1jV4KiRMyoxYIEZqwG8G9WWQirhxM5cTcL/A6OZYt4efWlSVZ+oYB022c0OWMW1iLBUUWQwzabj1VdWW0sxfKUgaqf1qzBqR0SxLTpaoK8ZaDXaufrKeX2WXvEhfII0nrr5FEptwv40vhhXScYFIyvWJDTOapwl7OaUKeFZNsDMLzGo7h7outZXBukMKgNyRR8PQQwdapitEtyq+jIX6OGJ1PMP4tCfrWwdmHWlb9Nv219Xr2yz7ru6ICTXrfsAdFsoELea/AOhhWUPOtpVTfKlMJePalKLat2IYkqU/XcK0GYVj+oyq0dXXAPKl4DdcbMGZOuaS8mNR28PhX2OiqEavByhewznKURpnyO2h8EAs/566i1+/eP2LhHb2La+e7B95zp3cWWFjSxO91IW6aZWs+EqsdtSee5JG8Rd0MQqmR7N9qZueH2jJdNGNpNZl30uijDsjf5A3ntIAsWS/rmEwwZt7/DJqWD1PRIicez+ogqSW/P+ZorViT37dkGiWjTf9cCgysA4hMXPmEffaSYiX99y5sITTW0y3C5b6AobJ/azFHsKUPdJxPvCX6c8JGHBnE7mCa7tVOi2juJGzQDZPgkkT7c+t6cjPUMqTVgepUQVg8gsKHe1iSt7WsZ3q7Hggygr1OAH0j2BfzIpPJLlKd2LKhAETplcQRGH9qVdZ2KXwfQQjWKkXQA+jS3jcUnwN612nOJH+EEGZBkNwIzuHtBC8/PHjzKhH/mS536lH0Lt/9oGTtmVWcgG8iVEXl4eMp1CfZJJRE/JGRmQ7mSfyPFq5X29F0sQw/+HGEf8DAQ6pfsxhqd1ZHk1TA/REeBnapDeKygjFy9xbgPVxy91FF3sbaBqwpe3b++yWnYaTflFe26y6UfGlvHn/8wDtaka9x46ESKjvRW+muONoQhLVGx1tNKdlEm7zVFxhuQUxcIpH8u864aoWasD78LrJ/zQRiUHm0BJqwT0BgGXvNq9LRHaxFCBUSgGTqHZn8+fvk50tEEzYumAf6V1mD8Cjv3D80ad7SN1qtjeDb14u3/TZJJDsUl0krJk9b5siJGW8GjOPgO8GLxRKFwxnqeROgA5m6a43tgRC03/RCtCbRTYj+abZGGfUoPGA/kEohYl5pwDiJS9Bk8aMi19Xa4gcq6SPpybGsBlyzlCCGIdXtlbx/jsRFrwRrZIvXXmFsD5dxxN9bd5e0sVogjB4C2WYuuG7oeYAR1BjsHBiPegZaqN+BvZroeOELsVlG/GGB2cfJb+ZHRF4hPwxdSGTXJn+VqPHGOTGDxcT7dpCupmr+Mm9EPDUMsqhVYHBoSUJjImOFAeKh7T2f7t82CoKpF+Qm8J5pckWiIMrfaxvZ6roD4cjqN3buBaFig4taPlgpZ1kFyAadRq5DAaUlf0/s0u07ymJCFJ93FaeRM/w1ns0VFvp8yKynbN/9CiQJLXVQbCmT+kZ3k2Ru+yBMcQ2tXMd/WHKeJp/taYSgA8Hq234VMW/sTldTIjve5cmsVy5Fglj0Kl7MaG5j8S+WXhGvfwLoh3QTXKAhH7hZ69lSJEF4b3sV2eXeHIOad6x6ENMi6f+3Gxof3PzYiRMTSLxuqMhCVq2znd3MWMHPTA2j/8F+ZmtDTG7TZ18NYssBqqfFmS1+eilAOXAxFRKtkn8VZNugbcrguFW1irph2wJhH+6iSASqBz9mj+8FpZ9TOooFiK7rxi5+CwRuoQbmJzPE0LwQISft0muM2f7tKwz39x3AeWpEh+HYdRsSBHkrqYsOYPBq90LdbuX+hxvUgfxY/WYBIyeO8KTBPf0hT7ZVGRwRMGdYx/pzkbNapgRZWn+BJ0MxfG//F/cAepL2F17ufvXPQsRhRjxtRWQ6B8EYldgz7sUmEOAUX71hvV6mgLQIro82kClpG3bLsQgOvqxVY73SS3I9Lo4+i48jQKX+fJkeiyqUj+jFkWG1JtiO6rAO5O7PD+kT90rWy4pUoBaA4d4IxT1OmRRyFAjXrWCCm5XGO1ky2N1L2h10iLTd1sdx7FWOYxQb60Un4QcDfu550hogsd8Ro1AobdF3Q8KUJoN8PBAWlRmRgyvgPh+Rf0/L0xfcswQNhVXC6RU2U08AfHbA6QvRXIW8Oc8G0+zf0OFmVYJwf2hyu3fDmPqglJtVxNO1laGavlfOhXP/L4YadV6tXTw8WvrqrUEVtxiNddHETsJqWOOhQy/W7FYyJEaZUHjZ8X4aSppzqc3MJCxuFQ5huRggkYME5/baPLtlmDpZ90CwVieyKyngYJP3948ehHYduxR5dhee89rXUIr5yP9gegyqbbivlBKxlJ6JL3COxxgBlsGlUX8FEA18OKBjmey4pbUve+7SNoRFeP0PH0hrYw4GlcrwY2y1x8mbIGWsRhKxRW6UteevG3+pe2Lx7EVEd43DumRg6kqp3D4lJF5+8fqXct7GbZ6zhYFE8FRc0TXami+vycGyZx2hBRWGUuCzE94oqYRru+TPyYWbDPWYv/RgMbbMkllVud1m1fp+95vN/uXGMVNn2cvqVKLttWa1V7aeV8b0Qjs2zA3IJmzGWbH7luQqLX0ZSubjARURYmrckoMGIAmRqM7PFLMs4pyU7HQld2vP07w6OZHBMcdHhpy4VJQUu2DO4YNRQpy1Vp8ZNKinwRCtVbXpN4a3RY9Iiw36n01ZaPMn/c2ME/5uEcS/elI113pfZHv07J1LUT1YiRyuuFWor9wC23aFcSCabsQLvepO26upB9l5XGO+lZcoFmQ+mb204n6fYrYC50jUx7+OdhBVH+gLJ9F0Bm9Q+5kusYYkjPawQmz415KNIECzH4hinQUwcN0ZAd4Ui4P5XRj7/5pSAB9uKNOnqu/19Fo3DG3va6Lj4WaMUzpWFAPg6UcHZ7eZk76NSGGjyWuDTOXyrcA8nW5LJ9hIhn4/0O7GtaqncVjebX2nI7CSx4UYWBtoQh5fRyGx3973SG7W1cV8xYDdlviNKsiXusw2/3CmO+v5KkaZqHuLYgqY9sPYq8y3oEf04r4Zh9b6aAgpGfvOb3F/15GGiB+qFJqNNZnYC6cydl9/luGFlkSE/sT08i2X4yYsGpsxGRsmqLTyJXSHGEywtl84stAOwAuAwSDcX8dxx4q610ZF2ovjiXYRzeSb6PDxyivZWgU1p+V6fxOam0DtVcpp+eCvgDi5GlPEDsPIspIpA/wXgLWvG2ezaK3++57hntM7AlWXkC4VEiKD4+M0Rx12fOv4BK0lWZgIGBEbuYByDGg3Ckrl3bTpfAjUmBObqw+HfD098oEQ4PZUq+RJf2fyZDPrVJJduld42szOvrJlOYKEpQQn7SY3WTd6GZyZTHU6yhys0AEbL3mlsh64BZM8qlb3PCkOG15EG9/qGIFlJIL+pYzLpKBfg/tyOn3DteGovwGd6Y87U1uTVWqJkZsv2PM3Yvt0cbNGD7JZaOFGCl9ePjOenpOdEBfkxf3UyG9vg5qHnVTnKokScj7EjUuf/t76N1uXmdb0zUBPQ8+pV2THv3hgh9snw55My71tzu3uL3fQIKDwTmxp8FMNrJlA97abzclhennieao/eqfb6gJx/5vCpzp6+4BndsZH4t8bKu1cO8U+XpjCqxX/NbcYgm+BbOaEId8lL5LEhAGfJHyPZH1Lyza1tAjHuicbPDEDtksdiq02DyprRN/FAFWz1pFihq6NkhyPLbmCsEAa9QPSvwqK0N4l5o4+S3J5wTaWd6BlZDTzCqiJzr8awz0y6Fnu/FjL4558COSlALLjlc1MEuh33/LDCSr3a/kHW+mDVtAGf64JxgheeNu5ko7gv8wrJQb70S14YbWkYNvjOKUD/qlcXYOs8DKEgKdzYYvK6/htomdGjG3etSk+rNfMKeRdrbIFWy148xHFu0i6W+MRcYLgMUbkCpj+kvkKIoVOpIqTwLkvSZyamZVGWHoQBSn5gyPIkvDDvW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qvOBKKDS0pQGTOkQwwsfvbEqTueO2iY67NbFEWmTh1cLvc0AZXaj/otsj0duoaWX1XtLuvAaFNnZk65zZhBgIgRU+VvtoSTsMEMsThqI3xvaH9VtV7Ag0Bm9ARRRqitFK/BBXfQpknxZRFMlOpxaTQRsKK6p2lkdg/vQA2v3ToJzrGQ+d17pZiPWfXYkzALUDPpxqzDYKqU7Ff5UUVSX8AtgfeFyQMoNCNexELbsRUx4jc/SG72Y8uf7heP+cEKZKcp40fJqPWNf79jc2VawcvPZ9Z5dMafPxfGMzA4GWzxAIewqY32Z2/ITqg5O6intJ7BmKsZKYoY0y8sUOOAjf7YZvRReSI1WT9EgF8sirkET5if+W8rVCIbbhB/XgbYEbn05f7lWNS+QLQp/78dO5c8XNKN0KsK4qoQy63Vn4cR0MTIewOSf0QVJMI8EvSCde9neH2OTOv2icpX2Tik7saAL0AiOD+POHOXjyp4FGvo+TI2NWe893NK/lGTSBz1hNm7/lziV1bbkUzFW8hq3YX02Cbyx/Vrh5aeIJgrmcR73o8caA2YJvrJvXXnDoi/FJYjockNN3sHAkAhaekbghVK12ljQcb9nmUtcqffOCvxsVEsZi2woIvwNOjMCM0LEm+rBriPTKeNvbstJpi2V0SaRzbrmsrsqMn9StuPEBum6eZetxsMRaKfczweoz6a/cIZgQYKJW19XQvhQ3LXmazPTDcQEnvbmnRMtGW7kzNJfUkvqMs54/oZDUUNctPto3QW5/qgAAX/pbZ6yvMVKyk0IzyupASzUpnbN3fAtIbFO/qX5tIf/Sq55f/AgKFmbE8lan3hzZ23fhU5DXQlbv07IV3Ienw+JakcfSYzTgpPxZCtMuXUJk9T75NiWIxVxafrXQvKHBYd1ZV3nk5FuYe59AmXAZiHkhuDuwzX8/uotI9d5wPzfnsHT/sd2lA4mjogfqyqzEhP/Nb050lfYKXcmzDVCjqB5mKeioEz5wmBXhxa/giHel45e6o93pl31ZU2vSkEuy4/umUV9KBD6/DtrrF7Two3T1pxhnkEibnWoPUTTbXikSzo4PayTL54TYJw/FGHCNSIR1yDqGv5NKhktXa5SgmIJdGYDbt9jWCrENU2w1WtljAXzSk/OCc20FWPlKGscKHCxdARNj95wjCZUZWcR/Vle+flmDr+6osL4eJDkUfUziXEnlH0KxrZVRSL3nA61i3m4jp5qJ08aNCuWuxbLyJGG+GIeZOU7rVoPrNzXxGGOH6DGPJmK90KnT+HjBf3e8YKOl953xoXItqtjYev0Lbl4iiH0Xeggta7TCXtQdEynzwHdNuzfqLaHg1Mi+KK2oH5evcn5p82uROQvb8i5dlrBGK1eM10mwGS6BXjFOvvsIhLGidxIP89/aWm7A1dsQcqC6j+z7VzdFxSai9pinnnJR6zF4InzXVfh9kG3+3wl2DHrEJ21jbHUIWPWxlU3PgCOBhrkFDFu4u1OnwjCbg19sf86r+d0bukddU/y+8A1cV4lUtMlqm764Z5hudltzmeoNucaeA/FSlPB/DeRD0dEZbnCMbVy4r94+rdR57/G4O0nOTxWshal6i7p2Bd6NhnOYb8acSJlAGEG+WVCzalDvBJmQXUybZcMJAtRMko+cRvcbV9HAOtbhl+xnqGe1UwUYD5gtwrPrjBFgUO1sOX1O39hb4twSH38FupfVOs1OrLWF6uOYltuA9JKBTiIjIdGibI/yCEqh/JPIcbQ8NrfNwPJMN8dpOIy4UPzYmdpskv0ZQgKw9ZNHC/nRX8+6Q0GUiFNHb1ickWW5xuu8DJUFnOxuVGyeswulCQr2tvelFvdQ7GIJ7z3AFhKWw80aFU0bGhg/umFEhjW8p30dXsGpgWXzjn17CtPLYZPB6S0gy14u+UfOyO38sJwkMhPG+MfRNkvQGoHiw8B1mMHbcJmQVSRtI7JQbDrH4WzmjSMApSrWUntTO9p34Jd/7vcrwyczXNEIcJlKIOtUGCtwqf4KdAqSq2nY5BmEm2NM2OgLaVaBIZfLXkg3xE1NW1stDioZUs+HwRgqfSV1CU/J5QhMeTywMuwKZ7gNfFDcebzDvtmMDowQUDDtwfaLHT8MJwBVx/L24z9+zPjBMw8R2i0FU/uzENmiAsfZhd/BFgNfawnyG8BAhmjdrB1uVaMiSospvrPUmLwAXMebQfPpfOE+IYR5H21LcW0LwSFrFQW8Ij9PMealA1R/xz1+K0Nts8wIv/jJv6i/BG214ZciXLRYsKG9mf9ROH/ZR3gVwWJZYeGfhWM2NLr4T+WG2dfc3qDJ4iJrAPr2osKnkLr0Y02FFWSDvDWxUAS8r6u2ZGAmAkRlBRJ51IXXnfvFvwKD2+MOL7ZKumTM2H84+bvD8gtonBBh15CBmbqTIswle06dqGJa4EN5QXONMfF6USkdo2aZrV9v2nZzCkkG8s5KCbvKg0w5mhuTiFObZbO2c3czMdLh5t0XHpnCnqZzvAuZ0mCTyfupKR4Np8xyZ5O8Rl3YUYb0Qsy0Nt/1uUppn+wNcpHGVj9nCQ8xkbgLtxG77opEwVte4zmQQrzptUzq5wPx7oaj3wpZS1ug4A5jfKrKG12Se4+e360NSF13lVcr024cfHzuYWCYF8MXFauBZedRvl3tDoL0lqAyc6eSzqSZWNVbO9x/64Bo/Rce2Hf1T5M855eMxNa1VksjbupRTaiI4Mz7i02LOU0q8V9Jkyd+cAKhJDOfcli+Kf29tg7fJnVa8PjITBciYEd0epxZN+C8xd2/BOHSAbUUpKdhX3PLi5KGlG1CObzTJf7qMvjMc6ZOIkpiNWGCeUXRcLTReprsazwZyj8Q5uGldj+lZS4Tbs93khH0lgaUNGqn3nJVbbnrX9T5Fk81btnMQ/pVIzMihCuxT3Vt182OaujqWXPjjt2p94L/qpLzd48Cou2YTXk6pwCBsXDt3/koAgSkvKPBaPNyK6iFjLRwSvSbsKS6ltm+zYEmfKGTXoqyD34K+M9NzZOqTdNv42AZFIEyMMxgCpP8vcykPqN7GQt/ZcALGNfs6VlfGZgne4ATvVHBZFQeEmAbgsnHx5K7Ll84czKrxN6upLbWln48BlIjbbf7DqgVx/XgmwE8k8iT+6ZDVsP7YUtZJt3bVOeCW9DKySgfHCFsPmPOLYx7xI5vTOGAqXHHUwnjpdQPZcDirbW9hdrAgbUinDLHJG7s1SxRTYWsaeCYA25qQGoeIbv/TKCKF9nGJCX779E9/pIZVNEXbBvogk3Gx23kWo0JXYUNPUUogIhml6wywUxfGg48Tex5gmi5LTpYWlEP01gZFXbUb3EFG8TUbWzDtpSgaQVYLHvsfBp7e6UhaqLc0dX0LcOxEcI2l2ORj4U+CBe1QesgqjB3BCjYY49Q5kLFnNg11htVWcZgobsS+k7WyD4iTZO+lnI8IbOAnI+aeTTA5Y8naI1b6HZKUGWyXq9L4dNp73KMU/q99fyoyp8vNvv9HSXr5W50k2OYQepZuIuoQDnIIndU/XgIPn+1yLPJlmchqJasdv0H1/BBmYKjCxOXYyjn1jCBHNWp53LrBgQtqoSr8s08zc6x8UujxYhKWEcvF6i0h16Alq4ecbsKnGzcv6cSwu/ircHqhquG6z8FswZfD0RRMb0ECE8rrKXmG8Jh9Fk9muOQnbdqvEsK/h5ty8EmOrzHnfw2tRakeF5EkCBfeP09APZXIx521oQlBbDCDdFw6y6RETGS2rDw4swCvLjcUVG2X7NItbU+CLj9MTE0kNu2rzc0OrHZ1yhKamxhGQYwuFPLSrJZVK6Pl7nLpOoKZDlT3KyWG/rb8diLV9l+HOZzwiJ9gSZMhhep3FIBAk/ZDX8sET+oNgzsqCECqphzVGQKyH+ZB+oORNVhmqjCO9SKwbddN6lzxUNC6LJpQl3RxImFAs2y7pOy8f5Gi8XjSW/sysATTYFho4fcxaZMk1ldohrQkB5QW+LhrwnM2xGV0yjsX87IwOS51No2htHux6pkrNLW/yNLBBv18d4ArTU53uXriM48ehcch+Rx6Vr2OJU0sdCTTdPcp6iK8qyNGMZ0GLeaH/9BxJQXMyOq8nSgI6m4M53zZ6ICv7hEyOWcgu0qMGcOqRd6AgLPRWcRk2l3wEGnRN4ptu+j8+xv/oNIWyipxC3Jw+Vms+QbyyNUl9VBXc0hj7hC/Wsj96MT2vU6JzCUgF6LEgeRkmyRpxBYDpFDu6m7mruEwrUthNzVTGO2hBYlYG4We3Lhq0pjvnEmFqoyABMQxqPxEY9GjEongaJ4gzswpmSURo55NByVZ79Swr4oPAD6yzPRYLSDQQnQr1D4Orc6ym23cgv99FkgB3kT39EQTxLga4owkHLLbY0Ov/HZMWVaypWs58ipM5QgsA2pvb1zkcJoveB/AsxbgFsJ+RRXAoz+n6BDfDQ1KLk0oGp0SgttHLs6OfWqY+gBOiEx5tfl4MfuMSO2+HyNtC4/CnCL7iThdOcm1t36qVxMGZX3zdlgmRQTED0xN2ZzFx2SMP73hAspSEftNfcCKH82X6IgtTprSV5A+pI12m6HDtlFHSVzGDr7P0f1GUEApNE4p9tLxr8yxlKmOHgdS9SocMH+ubWzA+QwnJ6MsIlz5V/52X5HCQE5wfjGQE/c5ndQwX/qQ48pfYP8EtnL5bjabhAJKiMx/nXE6ZaAYBP61RoOQqexV4pTKO2ViucuOeRkZGj7w6PSRMabQXWmRZaMUiMgAHan85PBQ/rwYlXSDDFzrrowuQ+rwosJ9fCr7fEZbDAe+vKxef006mVkqqfJ22RABag9bqDZIroKZQxMOP3hwmQbDtG/+eBkzvvUrzDF2OoSab+cxMJSrSLm4/QT+k/k3R5FBIL4QAAeujlrayf8SVSxM/lTBVHx8O6V/n4FOWoaHokarFxbzeaKlDqTTf3RJHGPS5wNBycjHo4vAT7FyWRmESWUtQy/YGgmFNEpdeQZTALpfuCKX9s38n75ls/k8cacmzfAEC9uH9e6byCEvjEFOlxUy1zzKpSI6Zn0dZD3UFciB76fkFNZ46SrX/B8v9SsqII+Ju3NMdHGZJbkwFQ8B+CIEv3nm5bNOAoU07QGtD31El8r7qouaGzspYN0+VCHWsRPFsJxabiMsr8W8Gga1Fxh9X6fBgV1WdgRlOYjULMl5RXxajmC1RfbUy0xyijRju1C3D/F7SDfCSrm0lxbjDy1LuJSjt1MTpAKK5+lE8nhYRbPiYoaWQYX3oi3ptZc+iLhNxZ0Whgg6QXJK7wI1Hf34UNGMGgE5tXkk//B1+wAlMNx8otySuRkWsbvUQGQGgixWfzdL9P2r6XQrXr11wCQTF0h1wdUi9MdcjjyOn6Ip4azLfJAb1zOPT7S4K9TR40RvpLCOmwCCPmbJRjXgqXOx9B2k6q0dpTNXS+KewmL8BE4YQxtXlxdrpqJ46R/cSQGc4ezTNxFu2KG6ZKBLrsjFVKMy595VnJgPUAn2rXgI3ImA64gbtgmSkuM3vFVHqtKRtgb/y1HG0sYIdps7KLQKogeYUIyFoUMykjNVGnb1N54MKZa/7vRCFKalLZ6qbWfj5WUdbxD72v0J9ecmUeOYiWGWT7H2l3+ThmBcUdN/WJcXhmzaVWyFS3gEYK6/sFG0QLiulKlxLSnMvoMKRWe0GJhQ3u0baDoFzqEKD0rILzCdnzLiIieFzHwaaWP48EaceSJsBSVx+Au9vkwsxzwEmlDGoTWMkkBbmCYtStTnnMwnmsA1yAKArkfpL+9sTq/cbqhDCKVOH6A6E7+O/EMFcDDa8hmwpTyKC5x3mIEfg15zDz1wHst3w1QY32dVJBtDCZMuTu31CH57YH/OqWPYfssNbAOOLZKVVbXJUvZPoFyuVjiVFSC7VBIZy16SCBxsC56IYJ1qwDgkIpXTxqIkurqihWNrZLt+90QR/po3afniWCs8Ufr/xl790b20szHZHW7n3+HMAs6896FgtN6irdRzuxfXW64xw5/j9HcZGk23PSO47s8OGPsr1cw6dpoKvfuS9VSZHoM507MBtewepSFSPWVufROZPpJVto6apPvB2eLBqbceR3a9w6diiXIRwpDNZpKiUJS0FDENrHraRYrWZR28zM6s8wUiMbBdM69YgCXJcPS+Bp+PYXa5FED4Zc3CJsj/T+rcPVcFCWXSlSm7qEM1uHbRGYXWeT+qgzULgT7PRGrvVfCEhX4KJ10jVIpUv7CziBXZqaOHpGAhU6jzu8IQfpkRPqgPxoAdftITqPPot35xxdJvtoh7adfm/whmc6dDvio0RM9gwv3BlrxfnGKgxRRT7WyASDHffHy7/pB1scRozFpufaJVvXqatUaLuy0zbG87mwqkA3GBkohY+KscFPOdpL9KH/WU8rwTZriaEu7HCuELlhdEoxruNGglzGX4AmeHKLm6/H5YVN5pagijhF4dHYErpT14vxq9C0yuwC6/z45Y5UFOop5KYuzmr4yWxWl73vX799d+mfPtvQKgi+bojBX6y1XQ5OQSZ+AV/un2DIT08klWQwaXNJ21bmlJl/EOg2zzCAulQqUvUHD8eB5z9ojlNNrMbSzKXFmxSXvgED/YcLdNHWAMshvk63kxDlF8K0Q8pi0Aw6BRg8eUVPDo2rhEPRXMyN8Kdpr1pj2nsVrgatDd1SJSP2qFoB1s8Q6KE163XTaps6P5EpQNUrL52ASyQl6cq+8b8keJM3Ivel0cg9h5I3bd4naqWLw/f7Gl6I895xBeQHRww9igPRDfs6RsT5U6OaTv8Ku8qfBkPDgj9Di5wmCYC9iN93A4JncSXxQcY6siPIsguGKy6i8XsHdnbzwkCspRjEDMr/nn8NNVUoQUPRSnGWv2zccesPCJYE7aet8oD5TEJcRQa8zbU+OLlGwynpFSff7yxE9HR/I/ANDSMy9PK8xi+YFRJlaX92DZCbEqGvSTJBClQFXzD3YrK627hoLMGkcIgCh+aYJrJf4/W2lfA28f/r7lqd3QELZB0TD/cJZCCgyLZ1ORRBJytWfLep3JbHBb1LSifpw0knabRw1CCApPpsemB6gmaLkfNNaMIJDsSiV8tRCpGJ9hfbDnNk3OXM6bpH2rW6lb3TgpqCM/BU7zbHHa2vFcGrmiuiHAVOwfVSwLBlUEzX6h9KMgXum8R+IRyxPBAS5je9IkJppfRqzjVvDYznZX8gMEt1IbyljH0ZobCR+YKHL4TY0q1hQOaSjL2BrCLTD0nkxHe9sM1gBF50IiYmF8Iv9QWGGvOondI3pR2xa5xsBJXBZ/sz7v3rBpZX6Jj0w+4p1fiQb5WyPAAnfeJUj/eSXa7BaP3WpoidbDLpt43N6PTi/5zdE6+lLhl95fmcNLL5ifyfnwGBB4xHaWnreeN9Y2F0ymziIu2H9v39jUciS8jOOGsmS605x1gHy6wgsyPDcDIPkn2XnRsxdKyms3Bz9cp00FeqVYFQKs9yhtPuan9wS/arbMYS1v6S+0tqV1l3HT9VidhXj33qR0xk+nI5hzPJNB9jzC9ejf26KhnIpV2wgzPSsqHDFGY0FTYV0LCXK5bGrI8spgIYemtOHyG7oJJgVXu3ZC3Kj4n8yFO6L9lvWSOoP/OGy7u3KWk+AUxnW4RCFt1z08OQQUWj2cVEwtXdiekzKlhEh6NTzzihTLwJJyLmzctTtNw5dsOo/NGAK7X2nZP8cYdDMnl62x2EO5UzdvGkb2JQlhmpL+w274TxtMtlgi4HQ9qXZyhC+Mw/hKdD1rkPpBOF/e4BQMBGGLVUIi04Gl+x26r0Gx93sALkjmF0Ja3yn6sirUfcnZHfMXt/9HgJ9lUp3z4vQWkjtLKVgIXe+LGVGz/MYsdoxIEJdsulSDGQD015kouQWvdyyYpSrdNIUmEn+q3W1KWM5FR2ZjwK5xV6FosGDfVlD5IDbfWYc4Kw9PJTsQgwaqVfAOAMmPqDEwur5A1X7F4FMDzXPk2doD6XkJEyyN/zEvRno6FMVqiAkz0MvHp91XL+erVJLKxMdRbOWbLgx1WBXehGDxNlgTxbWmnjI+f8EetQjlB0k42rqqiB593mFoqXL3lQIdFS458wgyCSEXFuDcFl15wDkU5QIwbyJSb+XrCF7w0+CjHboL0YBlgBFxxRbw80QZA8RmF+dhSvkHrcxeR5uV3Iw35rUxai1KnUugCgBg2YZ7lDkEoto0dIuCg0/J6V1Mb7gMjUAtAflszsMIft3XDOp+FBzj6rDTMmt5t1TZDmzuvVouHqEnPhcKsNuTazwazZ0GT/ylqykibBjnKYjcgU5L2qmPTBGQN4eybtQM/aGl+J16+BcCMzmYHRZo9w5BCo9JxPpshIn4UIeO5YAl2Yb57qXNSPwWwMl9SjBy3tbEQ0E4+gDZpwjMOV0YzychRXaT7efeFhb7viQIJ6fVHX1SpbzMnNUOhQdEWlTq+CBNeBRBujdJZLFfdwXiVcIvehXlxnzvNIq+nzSgKG5qkiYb1uMAFZJOga6j8Kd1XGVHIR8qRYMXlt3PNhNAKaF3Qfwo+S8quivprYSnWKDF3cLTMa4XTJbxoKL8qGuZWPBMuTJxiiaEHYNtlq4LD0LyIrgrrhVPxOFsXztI91JGH+pDcxEb/XvE/17QB/rukzR0yriwmEL7wEXKP35C8rJgR1TS/7mpXL63i0S5NMG7R9cICFtRxbk6zgZSK2Y9tww74gA+pXu1aYEpR2yzYWchxj9jNbKkzb0yVEfngVt6ca2mn1yRgAoIheyOlCzQmk7866kKd9DHachGunJRh3W8JnuOTPgGtXNxYuqYRfReurbFybfj88l3Qytklae+W0JA2b8bxMOuxlWp79lB6iuaLRoASZzvkLtTnb5C9dOfvNRC8C+ceZZTgEg6uNOKhRTz7qW0cmbGr9CEIk3SZmprqXYRP1h9Iogk3kAqnekC65V04VOhpDlRwlo+8RGMc3MeE89qxKVWWTfurOAOrqCsTfZ/ZyQNabu+/qIRxAtCoDKaDCDhGzEocTKAOI2S8NPKOHFJ7iEznMY1fFvVHdO1pQCNfpZYoCrOR/l9T9iD0WnV6j2FwNHr6tVjthh+1BuVYvD3YJ+LWeeDXs3R3tfBsNGOQuvHT+Rm58DtyyGkR0wYTJTM98IQePATOcvNWvmLXXsBGl2Lgre1OniSUUPHOCDtH0wRIw2TStDNRBn5QgqTU84rGv2dxP5DZjkfyJz9tQtzUoO0GGiCCcI4H9Z6PCMPC4Cg1IdMHRM1HKXrxpzv425Ug7IvVmj1LzclLhPtYsG+I88jzuaaIPkc2jQu+qde7YQM6qJnjIooGzZ+HOiC0OtZrimOprJxOqvaYIK5dAZqZ0kfQkXH9e5tWmGhMivIjO4gAxv5+hff0ozx7y4pfy/WBkU8fsrh17tEF9/xfbBiPBssemU05rSzfpvk6HryUMpuyNMHq5SKpu3x1DxGeRS4FkIHtHS7nO2qwGGduvERSVyPB0jy1qjUv5uR/iCxSkbU6Xn+JhBqcktHt+ya2lITlxEHljxndHoXZEXu25BXyGFz/5JFsRu2hO0kRFFOiudvoIVJuO2zKGVsW8zhOaXXCavE/Y1PLuBsToPSOA9hthoalJUzyweAOnhO/l1ep4ASqUheyDVt4hRSwDrRL8jj2Miki1whOR9x72zb5Hog46SlK3eCM43TeCGOMqGMFpgnEWEF8e09ECuSy+M6icmn+jUSzAPDp+LaC2L1sdbBy54xnvcB7kjHd0pYpt/VVYUBmqm1+aJute2dUBfSPEvXlfPLvckbV+pGALo7y8aSXjfL7y5l+luUpzL8jZRL2CafL6WOO9GEI/L/ftU3fOWiVWAbr0SzeHYsowQtjh/XIWGb6CSUAX83AmT131lLgR2+R/RrlcHVuzmYBnDr+hF0Swslu0XbxIDw/412Fi3Wv1Ile7OBGqL1Hxm8Q8jVbx+m0EpgmLvRQg/rP50YetPYV7YXFfpd2oygECpouiOGuz0+Oxrnen0G/BkMPgYmJu/vwC70MJfMLMcsyFhkmMzPqe+uEbKGzx+yZRRHIVeB8apXf89+fOPugFNven7/1O5D0Tbz0ccXuc3AbCOiEoou1SLxmb579JANIP8uPl3TxtbF2lpxCKFQ6PQD4JBv0BxUwOGypusA9znCjEEOW1R4U0C7rRUi1k4WT45j4zJzc6nih+Ix9dTIs2OmszwlzImJnBgK36CDlrj2c+aOLOdziT12NLFBc1rP+ZkHaqrtMtHnRGHVXADLqxdk5pdbBpVBGeuUiS2jEuJGcg5pz5HDxrVNTPBzBfcDQjyCMifAGVwFlr4f33ukq8g7uIQz1pWCEMHfM5Pw1s6LeZQiSnOLdrWQKBnA2xv9iYvTdW8Sf6qR+HXV7WvskTLyfTqnyiQ2JTmRbq92keWFqdrXwH3nTplBH/uwbJ8VcJ7WvKNAbMLRtj+NvYvxvtSHg7eZ5SltxYst0LF5E2ZQuiv9NUdGd6hhA6VZ6MR4+/grBLWijPwEK2ntLWxlMEZC0msheYqYb9DoFg2MXCbeKRV4OqZBXyzIZ8uWz+a0JqgTz98zLiJ9QWvGqT6jmQj+7nmDjzNSg06ibVxxBuCmNL+WZ3LNy+f//FnLtXYEO+QXRJ0ZX2yw/zCgT0mhwXFYJeRVWIQfiLh/BiBIzzRO6TutHuXToc2hmLimleUgdB6Yo6owhz7v71H7iXwsLGmyBnvN2uZ1pl6vIg+uHqQBJoji6iKUIPExKNEnbw9bwqqmEuA2hLxV/hCLZMejBdDquvKR/U4XCwRRWKvCSObNDCAHl/05VSB24IJ2lZGkMk5DyFGPVo+W7oyIn4TU0D4r5FqSYAEwkKL/yvCVzkFDT4co0Yytz+Q5NgQka3eVxEFrMXZLjAES/7JwJW9/jg01S2HFxLUMZY7gCB6Z9WPaqT5vCTrnZAdiSS+2+Hwd2O9SUHt+Z1W7ibvb6Lpzv9PupSz6zeZ3EeL4HCMg60XKehwflScEMAmHibpJD4fDux/dkqIMBwKaVrMdkozegWzh0mZigIqrBSXM7atCVw7tFfVi7k9Ki4hawVaMPTFjMKpRHdIm1jSp1rLLIgD1tYABIZH0TAZPI+ks1WWhjtVhmEegI9zgegCkJkL1kXrlz8yfeqML04iEhGQD8/YYrdfI2j7p5RaG6wUfEbRqNCpegI3ev1b1IXGLe54v2lKjMb+6e32Lz2KxqW+sArwC0CvtxNGFElOrHsy8+mWb8zuLr8qsk7apo2mIAeqAdUINBtsvaKjjfMyul7b2eAWSUkOk5lr38MLFQNyyXRmMY2YccIxyPhoqNQZvWEt1kRzBJM49btdmm8dNqq6TIw2AAR1SSJFTu7YRf4n/KGAP3y+TYlxoAXKvZs4rlU9YDH0o00SElOyvDuCqk0q68XBzv/ebVuDr+AVCNxezo4a9pKn/ZfRbr1VLvQzwi6gkASU5q6rr3JYN8BQq61yrN6RuCcts7tpP4uRFAy51rZ0/Ofb/mXQqnlst/sCwHMct3xcxalPYSih6akKTruWanFVRNk3GjgUMPHp1D4RPeyymqoyXY7Cqdaae2KRAEmoqmbXjc5aBwoKPgL6b2O21N1/EKTYeB7l8QpymqM7t4bN3sOe+Ue3B8XRA0oWU4IUEmyUJqA/OlB7kTVMYVYn7K9JeP9R2R/o7Urq/maCJIs/h/PUUWqUceOrTs9Ypd5c0sy0Vian+OX8+FAxZUE6Ak14v0S9HkCAiHOamezSQM+jePoc6pBgihvKtKDfEAjoLyi+FXQx02cVC8MDvRQTMweMeCWKJ/0Tm09jIc5/1KA4fLJdrlla4CtkkTJ0v2ZnFW8IqFpIc30DgVLDq+jk5OGD40pYkRbosoNCm71kYus6XuNfTQVVJ1oNjLi4gBJ9bgueIL8pj1PUY5SVmP9rIFpgHQKGJPi2uh+mtOCt/YwITJHfpuxQXwaVGMTWYoMwyMAtB/8wulHXtoq9wYmfCzF1G1qgsb/23LmXjnC0vJM7Dzzq/qRAvjanTw3mYifIFolpKl8GlL2TMIiqfkFx1QZoagRGxNsi/W8GZK0pq+260SRaYAD5OEGlzUJI/2EcduCQ6Y3AWgpFcuRi97LAaK7jkOUkU4i6acHiOb6yVv+nY0dKI3wsgJ5cP0sjOHhqJb+MCM0aoYkkYHTJY7sCnij0yNXtfiXHxe7FWrrebnWjY4qa+4wR42A8MKBsaM0nYpU0e/jBrEppBa++eUV6KW5dPEeCpiMFp3kt1vkHap3ZCWg+Y4RwyVXRUBfEZFX1QDrC6zZHU+PpNJiP5QQIIJTHFaBmHJ1CZ3KuGykQEu9kVayOa+Nada6+l20eDuF+XrJDd8yqKwtgzm1e8Ma97lRoHZyvxdMncGOhByLJPD3EoMpkGioGzT9Avlq9anbkwoDwCHyAW80V+/sta57l9wpVKEBMdva9fF5q1Lb5ydPNrPoOWC2YsQ2w+e8K2MS3rSIpiwUF992x64n/17dp8GrX6IGSPTY6uIbYsU4RzkJ8x3htrybrXxaAanmVtjZbqorUNxnKeIv/DAoGPx0SHsk2S45R2VmUlUV25DQvibW8nUyQSm3IZdmxbFdX33RahsLoi4+QAl8mT8zCxJ8TMP/WiOY6Wmwr8ignlFOSHHLAAP3RBkHd/2ATWylvbvEJNtWh/+i3l8d6Bau9Y03E1rxwExZeH4/8nSln07wDOPuwq6/B5PAxj7tr9x1JlL78m7Y2CLjzj7s2oOD1cbyQ2Kf/60td/Ki+zVPCdMPX8NDXBHjYjwLEOCCtFtxMsMzHjOay8W4dsdrnqno86OhPi+I9Sj96EQRhAfMXfR25/NX1xkV7367Hel27M/WibiBBf11GY/hpZC8bXaCVQ8rsi2KMZpvSzSG3EsMrJr5TXwYnkD+WPcLQtsOK52MWKDgxpxu+0CW4ggjC5a8BbnlTBtQuH0R0js+XO6NHasQo/hKzU285tVJ/tVb6fAQJUxOE1qQa2xq2f04zUXWw9TuU7K9k5dS0KjDE+I47fNgCP0176chQGt8i9YoalQK9XhLA1YDS4GOA6vBUsJeeDC38SKAknkn3JKIjI+N380RcVbsrehwECnuuANyEHYnaprV+kGD5Hbbiruxi759ODub54sCniNXD1wlzy9D6kr1dYBXbIoy/s5MK8nvD2kTVu45AnxraIV8eInAhE2po+A1K7nVOILIrD7QVhxk7E0HNnTQ1GgzokRz6a1C9lumW92Y6+TWIYQiJR4LWZ4lmtVF9X++/ZPyvW9q5ZRsen/D5a13QFRtaoxMRAPvLW3p9YLilCfWV1zP+uTgcM8MDCF4M9knUXc3wFrqFsW2zOGRlIQHdg3GNe7lDga/ymj5wi3cjfGUIsrT18T2rAWcVsb3bgEd/+nYm+T0CielAybj+uIhlTOpKtUWhcHCIRdjJIPT5ofHGOCmIfoV92WH89hsUO+CiJN2PobchNokgCMRC5Ir31yao6+LgtptH5D4SuPfJaswdaimMqgfHgIZl03YKdidL3A9dgR21Yhx7N/CV3zpNTTaIoHRZPBq1wgXOuzBqrzVWvvU6vFnKGBIfHRfN/JOlRa/BcT/+Qr8kHsF9PrDBill/k+E11U6iivva8bH4xYm3+k/V/706aBfvRzVBe6ELdGRZcR1/YuG9/0L5miJHW6J7GqTbB3u4mASzIsl2mO3wl33kYlTQq9rsc+agVraYf3/z93GuKxMeyvj9o1sNn2mS2oBg7ROygceNy3Fdix055/HkYLCND2ky5JCTmB3MqIgtmkNiJUPr5cN4kuGtRce+vBuRzaAhAIi/Upx0nEDSn4gFfzfWmGfPmzNpRCmQs4E0nsSkO2iN8BYTKZnsesAmjdJ713jY9z0ZUAZtFD5N50F8OdzVgWtQbDVy0QgU7iruGPxLmMGZzOywjTta2+IwpLgqMq/5SZS4cKy+dN7ncU0YruGrizNEmfVQw7PKd8Kj6QzFIfhIWFuCNTtSNFVpR9VMIZ9nr6uvev788KAA6lK0y+rWKjMJ1I5rRd/U/zBQR+5cV5qi3LJInHADPg5/i0JLk0KModWNqiUmlxEvL7/TK/eEzh23B3+hAuB/LmYRGKeUFwYYCqNxQuW7xalcdBHFjuGlLgsEtm1XL1DdNRgntHha+g6RHJd/crAql6BuUmCSe+Rdjr/pX7rTCVAs0QIxQUMPS+GZ1G2yukfjMtUne6EW2aExT1SbRCeF8HRUy/ZXeSZ8fKc+5HGVdsiHSGvCsVrTkwNg8z0p7joqNLWsO4RLPNkDpC4rVB5fbdl9n89lm6zzDEGPryW9m7dYJe2x2SwbMEyEO4D6Hn1jqHSNim0FfPOPDM1aPyirx3Pe2HUedGB0IwNKoAzbZhWjAdc6YCpm6c9Kyhzod4Kv9T31rmYiOdIdV+FZQ5VGEhn+TkiDnzAI57cNgCGjcXzesb2TSFPbpA7pZr4oabzZb5jhmKFRNTu47MXJw8XTi6lnbi6BOpQ0xFizaM02oqNVaMYlXJDFjRVWii+nS4ZyQo5yducFFsRUy0QZv5j7PXlZWTaiIpxkFqX9SWZrnptxS+LYdrXCftCw1P4vYfd1Kskhu8r/TSyCiVvF5tI5UWX/DgTO+v8Qj+tQn4RIwjZZ/a7kuLiG2YZW29Tfi0+/MdUuq0qbUIhzV8MmuDwNVJU80ANpDh2ZpHQOQHJdsHl2pVO6zQZdU2NLOR86eNWJP5aUrTTdZDJpHcj7WhqS5w1L2RX5JkmmApvnny8ZBhdOhYGhOxtc5z4IbJWvjQ+fC1jHdsG35P68l7U7kR8HKODxr2h8tWv/7eZEcym5b9vzvmPDMmjVW29cNL5dZ/NC4NloUDMZRMAlmTZb0hyNNHq0wwnMm/XX2n7A/ymjF0Z7KKTRs3HtZ1u0SZuP0j5UIPktaW81IUp8JTtqIjnjuUZ80++lmPvPefy6zt8QkX2MdLRY+yWxhmjPfnV3kNy8d3AWV0nfomqYrdBbSCiDh+Lb0Lign3UJJJ55DTghf/sb7y5PONdECYrvVl/JKLpE0mTmObq2Le+SAq/XRy9JuO2JX1u7NGZqntJmJYPG7g1U80RlThc0XZqVxyaG4rHa0vqAJUn8gA9Qh3wDl3Wz4Z2yT6oHDQawFxTeWvoicwi2JUkJdjDVlcUUT30bD+mgR4B6SSEF83jIFT2tr6i01qYiIZWo90wtcJn5tvyQlYsLPi5r3bqKcvac/1Lpi9SX7aWNrVeUtiqrJm7Zm9C6FN6AOcM77PaaZbx5ZA6H7l3/sFES19zvhkt+XgptXfxZAnTYiXcEw9MCKFnMMgxSv0A6c/yN6djeWS+sklS4J6fz3mLUTcnz19fvn0bWsptpxvR56lXF5xHtKrtSIABhPUzKxz7ZN7UmigMAo2tp0acEemSuIO8sLvfFdjneL/ApiFGsBwZPt2d2HvQTbSeHYAqIVBZ2OveZn4wwDVnJ2UW1pBug5P+CrzYIWWvNDY2dgEv7VpbGmcTtMrSUSasnO1PK/AknSErVbtk6oYjpoDb4dxhbRhSAFsD2e78Ema4LQwB70/GCHZnw5KT+PvhJ0KLcAIyqdzTmtNk+02ti29jQMyMQYID/h0cyxvBXlzCEpapzpx8wJydKd9FwPBiPaxwjKQTY7cNHJXJ019tvQBsVaeHFuWOttESmdodXo5IhuYHFS5j6VQ/ablcCrXKcV3FyK4EuTgzR882pUZtCdf42OLUTtjC6E354m2gkCJ0+e5KjiagkhtxDtnAlYoRZyTu4xfCBfOR4hg0XDM2+vUAaqeiv6Y3VRiYv87wTePHAJIoZqka3pyAAABIw7Zj5RhJsiiLnSzs1JMrILuwf9gEKgdEorYAWJZAPHq4V7J31umzxrtUWjICz1kKkCt+gBF6gBdKdn7Mrv1TVTwe/BmSweWrgO7ekaC8AylWe27WuqHnjHt2uLL0gwz/LLysuCZGIZDITlpavbL7JQo0i6ce6u56Uf2vDl371v/vRw78lWLCJh2mNwtcNVH0ZREzl2KFfPSeEpVUKB1EmXIDTSgd7n3L+ejLNp4zuI+ITbs8y8tB+50IFpuuN1JBdvuCLnPtpr7wWsDfNO2unQFx7Iwc9a8N7ZHFA8MZ0IDk45+HM1epOc9wBOTE5JVDagTzV96VUvEizWKZYzwiFOXhuel+9n9/gtQ5l2rQeM6UqQIqvDjQptarDJ3B/+naKR7NERyVHVJfG2RokQcS/reVAaIVHQzgnHfdnf/GqJQ8Lg5O/U01iuFv90rxvQJ389chmM8XalfZxlb/IHHv56ttwfa94B96ICgnBtGlOFX1vUdqWXLQD0TYafUzx2GBYxse3hMFkUqHFk/xtmDaS4q+NEXkhGLTW564lTIu0IjOd3otTK0+qo96xA4OcijUIjyuXdsqllfOXFcXDJfOMn6HLCRxqO4oN0P7YlVCJBbabNAjNMt5CXzZoxdWfLTblYYRbGTsNZmxsaiyyS2y7wsc0RvRzFKtD0/V+SZiyKWqOMjpcG4Wf+tOlj7EVEwV0FcyybrV+w9Oktl8f9I33ANhoGVQUPinJiIAzGRtq8qL30UlYW5Qhy1JsVAFDCs4uVA4qEaKugj8ocN3U/JFfNxJ0AbCD1f1l/Mv3ZcRrWnR95mvU0FBb9f2FLP/bcYf9Eo4rFRKf0u5AME9yTNsij/PY509PDhYibtGXjpB1P5//yqhATHU0JUdh3jev0nf+EPk/X95QSUYx6Kyxqmm2/VomViBhHZykWyax59hdoOjVh8v0kE4Vp+0uquCVePscyk5f5zeSfiQpgqDdorAUhydVihnJw5HYUVV2ZkYUwKx4tIEC/6n530/vot8GTLfChsRaJI7TdfMYIDK+UvydBri5DDRRVGH/iewcjQRMO0WKPbc8xkIzLDvt9+XLPH4uCwgtwJAB4DvfZCTu0bm1sUpXXo48cvsUUVOs+0Qg5ofV7vSO/uykjukfzVzXFh6Wc9TlNCe5+Wm45RhOImFurkZXyJ8MgS7em4w1oEu2IyuR83yy+li1i1Kc1c9/qDLCqPS4r0CkuVssf2CHXpvJHe0FAlIk9BnIY9rKmPeUG8KJGTUqOrpEQt7RiSFfBALIm5rI4me0LOQGh0UlEezUoo6nlkCBD0TpVbkC0WPMMbruCesWslWsJJGSrGLcp5hJgrUaPi476mNhNWsZYjxeK/Kr7+QMeN9qhhcPhqfmX7bh7Wtr20D6wa+kvOdRosTNvglNVZXuhZMiqtJf8RGscLDo1w/YfSxNU/eOvRrEEfpuGu5SgyrIRCx2L0CziTHDA4gJLW+LZh1/KIDG7qwilE2aYv+FcEwAxym897dVvn2LEUYl254bwsSVtJqazl/LGTUpi/tYa7472zTdVKRldlOaiEkIAZGZBZ5DlP6TG4s+S/jk4TEOr6giHW+dxD57pbG++1n4MAysaEhCqVHanbCgF9jNROuc0DHOAGKQLdy2/n/r/KkCG4ECCVnqY9ri6AKrGeIQO+M0fG5hET9FTVBEW/Am5FD+pwHjrO2qG6UA/sAYs8iS24yqt5TyZ7JJfnQcCEHzMQ6V2UXyGp9zAF2DtGeJV435KZWruQzU9Kox/ZTAZGHXTfI41SSbl63NRnY6NgbozLCYem7+gjXsp+tiDHYzg1yrggvHYtNGc7gdKqO2mkcWzH1B2iDPpM0UgPM2+1+m7g0rNu2xBLccFsI5mFWmnbWSOmYHbRY9oNDkjJRWTM12tFrRteG6DK3IXC1asMUlc4D2RmzRIcOysLKO+y3YpxpdhXWqsQSuGB7H8vsoDhx6jyWwXX/AYF9JtikXm/ucj/VDxHlKDxCT9gHd321fi9gZ9ZD7xytvBQ2/REuhrc6+HYi9ZEb4fkdzes4B0sx+8Uk4QkR5y2/jQlfgNuwjI/4WAllbzi16/Wmv6wFU1bxQklOnN3dxpLEGG1TkujaLnt7ZdJ8p0AcZm+Bw+niY+l2N8xp0ZcBW9TE6aK0e1FHrNs1jifbtkaFJNRaTFcCdm3Jcx9qrQCw3yEJ1C88kOYYbULFPB4dTeVysxKYQGHIwwi0hZGQsB/w+ZlJ4bYPBqQYClp/XOWwsVtoWoZC7ppwOateiUeewQ9o+XvG0RFtceK9jyrrEFWA15Gk7UeMcuB9gPAPUafcf0WKCW+e9XWpvQTzt5sBF0IuJIg5Zz415xRgBp9gApM13t2aRgCFKByZyUMW8iLJr9JMaAM7pPwGBU7+dRa6UMHLnrTiEqsZpksoHs6S0aawa2euNHboGv8Kk82H+P4zXlvhA4re8YqXv+KHB5cdjRF+BKqEEfeDFJzH2qYXtpOQ+Xdt1XZe5je9NVaMhn9wKvNxjn1FZYYDmKrIi/m+Qpu2ph58DTNlv9B4uMdnopKX8rkFq9X27ZycUBcuynOIIvC8p/7h7ultZDneQgAWp/g5tkF7QvU/aSys3D3Gg5mKLa1pYvND77rb3I63hwHGlO9NfoVTQFrHgk+I4I42ShublcxiFOvSPmiv9KYHzTOaonbKd3RcVcIIv68OLmNJz7/FIxMaa6UaxU9SRIc/HaBfaUOr5NsdDJed8DCpRJbUBeO/j4YifxHDo7MGK2dYWp61aIxoF9Si/dHgbJ0UANX7YCvhEdulMci+esYlrKiiIHm50gDgN16kdAN3yj1dVK/m52I6dHTQuQMe6lvk0XTnlNwXCt/a+gfGVNp1afeBh1TUoN9jbZDktUqzN9+drNQB3UKZOrn3JuatTsdJqFCKwcwDyvOhtzjLvYxxxQzO5bqh4alNiodFEukrXZWVmPqksk56hy3PtTzN2W4bUpFd9JIozvvfyRd+VGVaRMLBKxAzDzAz9JJTieaCxMMnlmWJmZK52Wwa0xkjlAo/ukW8peT/mQjrY+ZmqNAhk5zbie/IrMCXVHA/FwqO2kk6AKYA+xCgfOrcrm2hALN2Nu8PRsCWq6kv9Xhjla+T6weV/U2ysLu4GRO4WYuRIQ0cHVIWwNYeTEq45pNo5kJZ/u0ANB5uJdG0UGX7tTNMqzuad5Ghhwxa4xikp8sDtFlaIeZbmGiHs8CHj2hiIyODYRHJJjsjdEbKdsZbGRb1McsFBzMADDOa4IEjuC2WHCcU2EY95G3yBacz17it8QVTkM2d9yTcydhq1GULKv7hCr7aF7Ip6aLVObjwKbOaK1vUJXCPaPwBORFLQuNJ6M7pyvdEOkM+ADors/ldetJPojjghRi6BaB8Qd5rLqeOug2MdOvD07qxh0IY8ycL8BFyE3qgp49URXsoKBfNYv9ydwf+ISI0Ralakc4HgbnBvQJRv3gZrayl1/Hxt58gO7ZD0rZdE1rMsQm89k6Ar+46+tehrw36FPU9d5fc5oIF6UQkhQBNmOI2HyIbDJ1bc5pWQaQoQNXCJ7g0w0i2KaQa/TL7H3Yv8LuSJ1ASHSt2Oj3U7WkDGzoo0yUQ3K5ufwF9+dpzjsOYibtaqtWEdtYvpV+pkGTH4VsTWbj0cKaGqBq9p9CSOXqw8dmaEWpGm/q94XUImnzi1pikuO4EbknB/KFt0kv0wFPRgc8+r9Ns/ew9UeQtP+bgjhgxLyo7teyCTJO+hhuEQzSqZHiZXMh2GIDethQcUF7s+qFU0LCPX7l7+yaBLN/JH4BkcnlZfdNGHW1tUp+/D0HpQkVZzv6ZT1g0JTTG2pvtSKWkMX5reZAWeQfCQvKJP+aCVWM8uB6NUApJiHvh+GT3q9q/lAnXaHSXSL4ogstW30KEY7kno9T4UeqOvyYFtM0dVJ9r2joRhj5zGNEkUXGXgvjKGWyB8LeqQbp5ypzPnMcA0GAweL2IE0zj5lp3T8Gx8bOgeehjPSXOnqs1OHkFmtmPNUTQksXOzcBoTDs2cyRjleQAgvz0woeTtpPEM7NVOzqXV68/YzRA2MmpfObopmvIU6ZvWXeJIFcZn4AVVxGHIzLZjpXpx9Cf/9X0imqYrHvo9/o4WBbl1SI+um/hc33lYTWWeRVnJhRwYsgWjpg2LoRWJRQL6PffhuRjDhzsoyMpNSlkrauBEFOZjIGeNekrftadosj52OtLXfPhHdm6FnqerhX2TYREMBusTxUPK+5ppBLBa+g7TmUXti6zN5QennDi0AkxmlE+lVhg7nZcQMCqE1kurmia0BoulmtHvwoQTtyz3wNOCk6nOWSKOoFI0fgimXUlX9FFL0s+9/uSX4K2lu7iLem+HsxACJzkOP2X4A1kAOCmK5oaV1xC8n5riDoh7DeLjCnG68qX2nGDVQLBz3AR++ePXJvwMSNabF0W8hwcpyy2hA3Au91eGu3nbV1VnsaqHDhQ0gyl5ijYjSY6//mVgEPzcVrpzyWTH1JO9ByZc0IKQfsxF4utytJ4K/XtedfpJyRcckYCF8XC/0w3vahYwyQjrupKxH+NH1JfuC8ry4m39Tz9deadJiLewr8Nyq4ztpRW1hptRDIY5LKvPDEG/X2IraQm3SjJsC5lRXr7xqb94jwJz5a4xzeuhjvwsYo4WdHffeOB0PAbVD+e/bDXDbJgZ+x/wVYWRViOQOZtqfMNO8OoQ0I/f7V+kvyxTK4o5dbqcqvYmxmY8eNRO2ODB1AWVwp+4Q8pU3eiBk5RYS+InpvUK49yMQVjmHq4tI8WV+jn0ShlYZV1dSkduUmm7C8EXr4+mcJQSNXzQzJUku4ISZ5l9Jy0/IgZg79YLRrfudLjnwtQYMdc9aaLDrYnNmfjzvS93zt5KZLAXr0J6WUM3z43KDQZ3MvjIQuR46TwoXx9lPU+UXdS1GGoIvjgi1X5GwN+DfOOjSTsY++8G9Auq4P+qx5Hs5Q/1C445nzIn++uKQsBTU7f2vYz0OrllKCI/Go9tfDwb7lqDs53AycETZQGRoTqxlZeZaLxjvXGhOLyfUIvtcUOrIos3CAuLrF/9vTUGgThfMZl14Lqp/hJH9beLY5fBC4Ey/BASYsLT+9h8Tqo4EHNmiPfJcqYqf4u8kD0AvcX5Z5anLN+dyvOabo2H00gdKdY44ggoTIX2kUxpsDJV3M4LGduTE0ahvnM5F0YpinXNV5Hpl0BgbkLoPVSVT+ocJRJvy0fIVvrYcpwzfcPq3m911ZJvdFNyLmUnN0BOVidzyvEB/QDurNTau/Vt8r0FKZMEWLk727GpKEWHpCask5MQxVijWPGIw0bIZxYCdvHmgeBxcU47V9PAMXLsHlBre/o4olkqtWQgM2T2tAtdlNA7JB62xdeV5D82gVoCpFXUlStvLkDSiwKav5RvyfDwosRfOZJ4XzwqkDfuvtL6CRfZmu+67JnXjLMuNcOUxZqnx+TMhzZXicuKSgtP9/0mz4S5K7YPL2O6C6brBVF/PcUeWdwubpOxFI7vQ57uQHl4ySlv8JZGjIdOUPB73HZPYBUCLAVEFLcbTajMkFvEQlAusumVdjCa1zcduKeIXfBq50q1lLReKhuiYlE8REx1XqouevLUi/5iFYYp9N4AiKJGF8iJSdLHUZzJP+VLSdDvX8rPr7RT09xmVP3UXmUBGYrsiiUrD2t4UrAD1Dc9q7V/paKmFf65gJQ8pFO4X0aVNFl+SKg3FvdMNXGZ5y3gO1O1RhCvhkhx8Qmhbty52CVAYPVxRRl7ROMniclvF+rdsxEASEs/3QhefoNkvIyQUV4xyE6okGUsEMhZ+bqViFWx6GbQ0zPVHct4ZpnSOpOP9CII8ItzX8z3weo5e++18FdUZD3PcW175m8E+SiutQBskj+yyADMo+O6+o4zxu9q3NL8ylwzoMA63nPwe039PfW3yMPaOuomOiSyvtcyRi1M/oSN0s+4CvGFcePXxRzyKSSw9USvRap6yLKfp6ICtL3pp9EJY/oHKtm5PYNcIjl2Xfs3R+MqLyQvMLaYhoho5Y5iUHQmnfAouiPS+CzIyyWnAed1xKY4dlSjz+I0foZrCKksYaecs6LMCVjNs1+owy/lgD66Er62tyrupekfRpLmFN8cKfGUR31o2NHSKpZTPOKrzrqM5SSSmwe0dmxVG6M0UNcIoILffTVVZ0q/SpB1fKI96rTEcK0yZtz4ELTHPbKHEc9hOdANY3nSAKb3cLGq+C7GVvASvc1fbqQFz+kyPANG+Yn/1ideIZAGpWpvIS/kTajp79wVD9fCQULrZEhqHvWeZatuM74ktOUbm374bu57Y8a3Jg1rjxCMXLeEuj99UfA6bAUEDJgX5E652sbsBxC4PeiORsUVzXblU15utalb0HT4NGHBhpqsRc0Sd8gAfLMKVHy/24ZDKbhzKFbtLireOE0XSjfzeec8cz6Lc8+djCSC5DI4sMlTFBT7qaan+AcqZ0YEd8NroHo7w8Duow4p8Fwb6eQDsz4FKFIEsqdWlfyHIFuhX/0RFhVraB4Ftan//cS2evfY35SV4M71XUsa/4ZrwkvhMTY9WS+B3WiLv7+rt/aG7K/8PdEP6vsR41esXMNZ3F+Y/3YNGK4EfeA7/Xl/oEp5nteSVzncOTq30xk2PIf9P5zEv7CDMEf6WLcL8JfALLqSAM4cVqK7VZyL4XgL6n8chNk29S0XK7BV20y7AgTFZ/T5vnpm2UhQWIcMr7hDzphHf3D0h1CDPCRDNiOVDciGTxtud5BclyPc9Rc5h7McYxriBG8KEZ3evryUS1shPVixlBcaW0L/W1OS6mwdby3XZKc2/TveCkQNn8NIt8LR+bZO9ZEsLvEyEov+V2U/T1m/IPXJnbBc1M7nKMWq/C97fkuNYu0ZOxzdS87ABldWIXHMVfeG73WfaPcsohoRxMuIGycdvwmUPX1UgHKQuyhp9bcrK4BnmCqMfa+/3ZTDRo7L9XcvYTyn3LUnp4Ph4U9U76Zg52abtEWd4II6Y0eC5ltpbGZQSHpwrdd4f57VjfLvLpXq/9rYl/Tw9MGqbD2b83TfOF98ozcoVWnA72omybw3an4nvpYHnaELwIIG743OY/UBd9/3F7FLlgJIng5WZOIgLO+rSJoraq5A88dRsAHsBixVrw9PSOwIeXMWZOjva08Sca4479Egl7TtLO3ntoZFq8/hlPWi1vZ8gFFYNYs8Dxzrd4fvG5rFf9m8rO1BI+KiIindRIivQf01YD6XwBf3zD+mUmd6w/3qAdMNOxcvOVTzsm52cD+i5gd7/EBiFf8aqGWv+eo7WYu+kORpJ14CnQxxHYzwxBvQWj6/Cc/OGtER/c3FUAuBXrBsk+XD9OSpTGmsr3QyIN9vwnjrtZedYugAcYsB6hhx5ivrGQCt+YhFPPhqSsL9L+f+4Zm7GomyGaM+AzKlTKfcFGqythA406Jv64fwTslntxstjF6ieH+XNdgvYfbIJkhnu+FLnrCZ2mpAimyOzuaDzZ89AirkrQ4YuKu4JJkvC8UfTUrvDPNBN0GOy60rJ/apqy0j//nyfY/y1tWFcG8BsMoN+ST5/kelXxpdoPeS5bpht19jd4uC/K9ESUxDw0fnIa5lLCq/rFFrJ1gaOKOjENcq1893adXWspyNuUzjBctb+eUVnbANEMxEv9okGvm0CDjs/yUmMZyMDpnhumsxjkw19ZvMffIyNnslJOhZ+zoIUmNiNWKxoPQRhZuSg9xmzdZXemDiqDZoDayIGynbBiyErarw1Ag/r8ffzI5Kk150oUEHn34qS993vtUW6A1x9Y5Lh9syuhiynXk1DsqXGDVlX4ilqHBV79R1RTM0Wgj/mxi4K4URy75LJiBIodTHfioC/JMugIByHwRU1VcIyNYCkTkDkBZJ3gH+PBmDscuOunISRerjb6hSnRngQ+NISmwwvb1eVzLV5hZ6b1ClL+Cz9OvPtGfmgoORMJfoNjFhHufS7MwvdRR0eH6mhv0leVdQ7BLpm21L601BV/QGBtX/+JSYi9CzkLQLcbT1LrxSpq6Xp3mTd71GfAGNzUyefBPpKuh1907cdFGd2oyWT0TPu0Rar5FzFuQhTeSRR24Q/N1UNlVpKY2KAVBAlPbbdpn2qC51NDfXClT6hmcHpNxuTFCg51OSEc1pb2zzsLHbSbGWN0A4QlcNbAVLP3oaoxivVmipx9BIsm6ztM7WC14gletFsI0r77wPAF0AsvPSG2DPJRG6ubcXx8UsXiN8hxvHzFDHQ75BIRscptcW8XL8flvf8wJdjZpx/xh+h4pJeDrxKaLrJBv0o94zpDK8BvAzxKo1Xz/FuzVwVIwvWNCrwEp0m63IaOE0Q8ECjO6Af1iMeXUAE55vuMhxruGFm6RWRYjL+E57kSxnWs9Gcf26qDQFMkq+k0frqglevbyCFgn1bxPM7hStp3nuKuwI7sYSwc1P9k9oIJ3yMmd7vYOEtskUdgo2kpLtPSXLy/j7J8K+f466icIlqrlnvIO+3VNvQh6cBCEHp5HbCMz84eDpwZJCqdF87Fd9fqaKyCW4t9jMCia1eNAO00ZZ72PxS01/k2oXZxDrnFbA05B7ELfl9mXvQmFoH+YezshX4NYHPIg4voeUy2nqCtryMMzd72hIPR1AyifluNZ7glIBEsHCGQi1FY/pqRAZVnwlk6Xjk+S8/CeHWCYJgZIP3xLVJzkKGmO68nxds7qK6g2sNbnUPaz6XJU6kqBWp+vOp5CbRAMIp1rrmYXdO8uqNk3FR5UdPQuGHp9ZUo3uYf1RzMJJNLb3mCyIuGG9dctjXoOBwwzbf8f/1lu9RdKQh88Qw9EtrOBbqg6jfbJGzWxXfZ6gDu/EUFRqfZstxeFvlpQWKGn4PN4vk5vqpIAqGxI3tEfGcbyIWvpBItzPt42dSDuWGkPwDuk7sqhdZ87OR1fYZTdjouqYleeJMv2Il5w+n8YYCoIPD2X6jcl/wPo0lgvso0wsyKg7PouGP6OXlnEbjdTf+mzMIHSCKxma33io/j0c35bAzKwruz6i4d+jkjT8q+2qT2cV5SkrbNnvjQiV0GZ+7TZq8bMku1LXWQnzOA6S5aCvu/avTxyuVJ7EauvnQicYOilZiT2bV51jIv138u2ZIqbc6ZFNd2Sii/KbUqYnN7TrLqDGv34Mgh0jEhMOs9ko9TtQBNSP0/zGqrPDiAyIb/5FY0NG4n6j1g8vdmsbr2vnaSkkTi3ECeFoRMAEOA7MmZq8XXhNcPt1tUeoAArLp5CjA7LS70J3ytuCoe0SiHmUzdF3Ms0juJ/m+AixllV3oq3RBpyoTyhO9S69iceP8rdDbNFPwwbXkwz7W/RSGpdBarhczmXD3B0l91Zl1RiNLQK5ij8pKetqwW//VTrWNFgDbTwWOyELtDQ06i69UgDaxMxq6uVr98RVOnVVktazrHPG+ZmRyQ9tUHPezX/1E7mv2vIt7ITVdGNqe/2puo2lmdWKy1ZaPJluKoIGLOYlSA/NEvISANWxXy6g+aZcgBqq/BXPJmVKuxYMaM5P3HkRYjdfs62lZEovlMMdFLPIc6xhBjKaf0IP1VmQmfFAFLdgNqaUW2bQNlIhglId9+qnAWUiPtXe1Zlsz7Gwo0yZ4IaanXI4EfhWusPj+r+EWHZBxvzUo03y6S3D1IiJrfpRDtF05ef6TQKhxl8a/P8zVsCsY3V+/VnH2UozjmhAZa3SVr5beG/wvVju5KY4sB8FBbOu5oC6u2a3IKODCfrYhLseurVyiQx9T8cni+o1hOd6FxvHHCryw9OelvIhxE49PfNDu8SlC9eA3Bg3YogVTFBxIPwIKtxdAFcnC1+hUguX/DeGA86MwYD8qaW7SVv292cdsJwgMb697+Wj9u5f2p4xPW6iLMM2USn4Mqq8Rc7D71YCDWJgLZFgCYvhNFrDj1wptkkfJ2j2ZphS52w2UW13iAXeDvPsbXHXCILUEynmEFB3n0Ngl7I92YjcgyWED7Sqw4qR5FboKuIFLeJMiyEye6MiKfTosBF38r8dtFPiHNPtcxSSEZSqkcBiUrkQehuv1xbCTLvHlDeQF//e4QQJ3c2TeoGGfEAN7BCHgHP/WK28DKWYVfHTGDW3Nbpetz/oOAiWFd0QePIdm4t1ZSvEXOY/cEDFTcXvrvJj+loS9X7uafXd42EnXoWWAgQzziEc4muW3N+w6t/rmqZt9DFMaGINt2/xZwrLDhJu15xD+Bqdr3wXTu19KXlSqSPxDCmktDev0FrbT2yMEQ5Yt8GuWemIV6n0T9COXh1AoFylgbs9rIKx8rFLmFnlW49fn9O3VDy/TC9pudqkaZHC3B3ow/9t4v6zFWnO6DBhla4cLhKh3DimZVCwrfINiV3vUcgKha/gcwOfNvkg1auhlFXI1vDMfGxkXKxNRfuWynzxIMj2AdW3rZp8TeUDzOwWuwjEHVXxlpC7qApA+omM2/T9TvW/ANZv7BGrBjBHwRJSV/t97RnqXDax6DAWOV9uW6BAl/meI1/B91OsrqUOUmgedqilRhiitJlm69J6it0n7irqiWkTwcwesEKwzJP7YKFe4mBPFB9iRF5qf3FAIwg6IdbdlnXZtK8hsDwI9vewZxtptFItWuvxToEcuG8Y7nIOYLwquyF0hf5wCqNVKe3yyQJVKOycm0pOxblu/Se7XDuBLdhIWl83+TMkh0bQYEzV/yRhDLyKfPIlAnRwvsFaaMD8QSPwsOFELi6wcBGRPtstR8i4jxZVF9MmEXOYmhiXtyjJVYkaa8bDcwHso2XreCdBaCdCWore7zk+X52rRSC0cFBi3Zc0wjHZ8otnkLqgllTf0Y1odEpWDKgMeIJKn/83hCzBd0PuIGiqzVo663BMt7Yhpg3sCtkG9lltcu914RQ9T7XxoJSepgQcfHxr2VNXPYs2zHp7gNHui67sKcd9mXOKKp4S0mRHilvGTekAZqpQKRBXZ6RFoyISHY98+ncsCSX4FSpCXFu+0sbscDfEJe8oRKeQJZ5YiM0Ag1PM9IzFBczW876HAmGxoLPXL4rVURPlh+qY05lMXm5+/vwnGKh+5Aiwpugp8b6PYhB2Vy88Oik60sqobbM7WWcWBSKWCiJpoBpTENW5Q+chK4N9KTADsGhLFE1JeR1eFQJQCcec7pdJtDbui6dBSWSHWoP1/Cpq4pjiTP+RIhyXfKi17ENrvGzRDIbBbmAysgroM8V+j9D6Z7H4bznu566jeDge64bmw3OXPXHjRh/1qq9G54njGNWIAo7ORmWwM0agUdFI425I03rwYhin2DHlGLAjGbTDmLZQKCHhuLm2FTiKb218bMYZis75jGQXD1PTjuIP4PC1F8X494E3YuzujIcGIf0ErGucgO8T7U2rSMdQ7MixAgUwjGOJS4QFOBjjpH8BzGE87dt1OLi64/pQ15bIrhjzGGAQQ33moL0CQY3VI3TH8gTWLEThHpL9zmce6WsCGT2AUdhr4yj82f901wMU5+azjdNBr3izx/gwD7Iffq746FojJFKJn24+KeJ0PsLNOg3Z67S1gP8iTxNVuL+wsCtcvmEkSsCPIHgbFKIidJWE3y9ktNmtzsV3m4VLeF8n/874GUbClrxnG9/KnYN3NKpraBwN04C47iorprXvxkreWLwym0Gjj5l86PiqKPdfgSdSlI7aPir4xs3A23iVWn/up4aZuBHGMa5ls8zH2Pgz1WASJSwSc/T6pbUnCPaSPHug5HjbSpJ8aZTPnqVq1FtklHQnYBs2CFOKNsOb5+cdlNOTwWykbcnN5yFNZDf3kvKTvueauhhP90awwhN2SooU3BcqUQfSoEigiq1RjoIfSYCL9oXLWnN2FE8DNtWG7cNDo0aB3t5hp8sb3pdbDBDxg+2NUPLxIWEbiDSCcoAuPIE1d/5dxYrKCbp85/GpFyO0UVOLyo0DZAeyZ/H9Z5FE7YnFw7mK9U8IEYD2/3Pf+FjI02U7LMBacK5/Px/esiLOF5TNRAq5mA0QCxAk4PDfoPDmbfLpTWFPi3tU97BFCgnS/Rznok0LGOpXT5pAdxeOaK08E6z5ceVpbq8iZJR5ZO2/rVBrz9ZUkFfW6uSHtNnHFrHpUpoTSSUN2UsFyoi1z+C+6DQzbBycN97xJj31ErX61ub2mMWlR2dPgGyOnPsfNANAGIjnC5nHduge1QlsXHMnNxddOFzrj2o2fFWLBmnQOxvyn5GNgeXWjNWbrvGEAtsFhrtaSe+HIZBdaL9H5DuBDO2ojD1SPekjHQjNKTw5/5Pag87zYAe4GuhP41S6wmudD4fURB/fylsx2Sh71XDhmx72LVyYQMHDn7V+Cn7Wciujc8L3FL9e1uk5sQxhtaQx+yG+pZVFeG9uZWVS84tphV4t16UJ7q1LkM/UID0Vez2WjuSEAfDXvWzeuUNQsjM6l6lBjuQpG12KA3dMnr76R//PDWjSUTqRv8KP4j2ChVqEl/NHndDRf6Ms8hKjoNYwYzhFQwGjOyw8lqDNTZbbK8BBD+jxFjRfLxZy2X5JdmOa+9ePB705Bipx7Y1llRojA9FXNq21uQ+SI588Xa5kw5K0wIQnNPkiveMvX6W8zGmPgcmk3aam+gK4ZgmY7BBeAqztuSvDOeQ8Tp3vO/ELq/eiyi8pLSpdZ1+iLyAFZ5q3QdfNxKAhbZN+gpy9lVJWFcjT2Vhvd4PeT25289UXkKNi/P3OXArqcipRT+lLBgqu66YpxRGLYkwJ1Ge/+can8ULoiz+jtBUYd8TnvpGdvjEa7UwuUrf9Zu0hBEnjqABeoQb01oZ82oE7sSE82bWgdJAw2QXSI2qb5T7RzfVpf+GCE7BQEC2dqJ8W0IxdsNg1D72x+wQJwH2KkivtEfvM3sNCqOOQ9spjgXwK7TzOG0Ux9XTczgj+w7bj2AxSMhvO2/Uq+lng4wYQLNFVxQ85rPD/pThyppy7Zkj2jP7m3Dq3apoVwT6UhP4G4rpUfHQ7v4wWC+RvXGhmEypW9tiirGl3DWpbA0a0vLnqP/mDYKGYIQEzyOn5wt+80fGNy6O6LVYnr9oeUMhuvIMBDKTswNJ1Q89XxUHcAGBtdlTnpd+pwciuv6S9dMyoPW0M619/X30dL8iUeMkLoCp1Mcmdb0gxSNItc4rdI0kHQRQbdeu2rdNc+nVDwKUg7qSwDA/NSKMHJykYqndEAznPY8WfhC2UbJbf3nl6h2fOS33samQFj1f/1+lMoRaRa4ZTGp/kkSR85gy0D8al8qXDbXw89y1JQIkyjXvCaqMWeMXfwePrzed0o2tfDxmMz9TiGO9G2K9Bmay/RvAsyrwswVvTBfYv9nH4wmllXD7UMoiokvZH48IYophK4rHwIRR9Y9SR0ATOmJvZ+/gU+x1c75GR/dYgEqQ5KLdVj+V4eN1bWh7NHtxYixDAAmqYSD+diwv5HY6QNo9uI9rVMfCqZ+LGZUW9eQYsyrjUQgu2PCG+mRmd8aRlrhLJv0iZZ0SZAxFxXdsPzED17NBiSSrCDd8pyupSVyFe/SaGlY1988uXtHWOzhHaw4FxLbcuk6wSBLIXAB9jXhzed0cXaYngiq40j4O9ol1CcttAgM3MOfbO99ZK+0hqu19gCli6RN2oQx+Xy3rCx1bF97tXfEbnLuvGKhtriiIeGG5QDHJTEv+YlmeJMeWQ/QfcDTLvlfOYx1JGHtwXaXAFmQ8x0hScmqvWUqMRBtvu93uqPEE8rLN6eDsQR//RgfoiX97PYqKdyhZbfuDRNNZbHugVzcsbS/fa2FJzOIzIYRFT9PIIxVOw2MKPDxDKZ1faz8mWPEqAMrXvQCL7Ky6zZFKKgnkUudnCcW4rcvv45e7Tn8jEXSG/0S1+ZFO5yvUuUw6+DIlWU0oNWLoHu68JrV4Gni4+pEMNJlP4B/CO2V+6RzP66jX1URQp7wznfWYCBT0jmFlXdzgaCSaXys2gRDMfy00OqGleCfGnbV7EdVF6lI5UyO61EXPB3J8OdOJ0eFlCkf2fVWGtBjKuNSvxdxsehIguUWltIKFLS9N/88R3MwCK84yQSTv3U19LTjM7wUdswZZ7NIWiT54W8H306yBu1ZOOgTp/jTb28KQzmoWmhBWq+BCYIXwfNRGlY/REXLccyxWKuYFganvgHYhnDwDVrm0v0ZSCN87UOGFX3RoSWns8TV0FTdOX842OC7H2tXgQxlu1N+YViWchFjfjakxumsflLgY09XQ6kVtZLfMPLi/gym7Hmiad/rX+Q7sHwuOKjq/9OkTchETWNp9XRKIWLNFlaWtb7GqkeP1Mqwhi9Owsb0XO/Kz3lCt6AkwEgPcD1vmHs3V20dDlNCBL+5EdyGqIqQd9yFEh3rFtK+Sg2JQ8goJuowlNxal6MGHem8RSLQ8OaWYxhTLqKDxU3ApjGHCp7COQgeNdn7kWyQ+XZ2AUIEd3pYky3m3FOcba/FsrGRcCQ6T/OT6oJP0CYYtSOpsKSjTG3Ic+Tsg8oz5VjOUFLF7LrGTJ7p0VdzrI8UFvY/nzB5Tu3nSNSqknDB+DswEfkpsIEYNLF8bjlFL//w8fDzyArFonajoP6NVG85jL+MY1fPzdmnBBEnf6rV4Peoxg8QGXJqpLDSjzb/NHDaLUUw9ND2AimKWKe9x3Ur+z6aGyPiXeTMY6Nz+ZRtg68nwGicUSl++cWh51E2oCabgIntDNRYVuGoG2sS2dLCv4JeASfb8QeCnI9Cf9JZVTA8GZivEdEfI6rm7u5tkIFmsv7zzaDmHJWaI6UG7xW7ae7NSN9Z5aPVfsOE0hCz8Xd0eESy5wirqimo9wzu8yyW1Ix5JPCTh5qqMV4AWFYrUpRoCqUws73pS1OtePGj2ISh1GN+S/oj2HD/Ftb6fgXaX/swI1Gepl1jFXu3whEkwZyEtygQPYGzoc2jfrWfxkClmn1IYnunPutXh1pjMrouvbJINKtrBnGZlAyg8rG2O6IYJI4nGoVjBgwGAmF4QHDwKDtl5+cmk17JEqi03+wkWytenBHNJvwPCU2uISybsjOYHwj8EJxghPRSRL9o7Q7vnMgVskbieoKBQB3IO64tviltM1jdBsx/l+DjDjaOGqoi5Vo8rkodw6h37R7Ff7Od3b3ikvJlxOibQKVlYwVDYaJMADQRmPS/vI7NAQxgd8ooQxRsTnHu8b4FGmZleOdR9mihWK8Ejsg2DzlUblMNDZ85VErzJlrWEoiduxXl6Ya9JOp6roUg95hviCcRXfq98/FvDOrOPLsy0+T5ohMTdi3sf/6UIjnyo37YFmDROdTQL6uYNMY+pLMt8WKBSimC9ufCH3M8H5wHD+15HngvGQEH4yiL78x92/pXbD3KA8A5ZG/XHjtKM6ruLkdb7+1W2fb6vvAcUJ7xXftokhbUDE4GIM2V9bVHDL2vwdR4vWHwR7bb8fYP9NfUHFum0MsrHWdBFhyJbKeqtQPnT8V7PVaA7+DsshyiwNI+hx8bC+r93PeY9cz0tQhthQliDGgNVBG25tSnlYm2cJdIPRxv0V8qT272HJDHe8yd1yruhTiamTLi8ONGfg7aQEHzTG32MzQ0KpSMo3SSZhO+/qfwy4UlYztIFJZkJLVgq0i7+h4S0A6LjoESso4JdD6JvvgHCUJD3HlYcY7h/9HnbjAvC9TWgM0fzvDwd+gV8Wp7RdnPwmKoPWdfuS3YpE2qIg5jR9qxYPU7GAap2wCM3qqyJKg8FkjgSTCtLdRrAef/8ma08MCEwve+o9eaiC1S6/nsN/Q9Z7bNIHUwHGO7uuz9eTGof3tTbF6rKQLvnXDbybYGz+e2ZAaxHyG0R1na4MrJ3mdIHulttFNf0Gq23L1tByY/uM2Y0/5NMjSJrsD/sWQCDxq+xgoG3ly2n8XSFpyuSV50Tp/uNRZDTJjltWv1S1rYgL8V+s6pFFPIutATIF1yk6vVC9yzJXThIHo2n1UbZnjMvhe73gcn+o9Sa1q6CNUXVcWh9v/hiAQEhlmdDAg9ZzGg22CJiN+rQH9Rvb+t+ShacLhYF2gL7iduot47GHqv6fPCleVMUu82C/g0C25XLhJA/NcDlrk1hK4K20aH9UHsyu8esdhBuEIfxvgF37Gszg7oGA2HQHTs6O+zh9aKPqbR4rbr9S7S3IxH/T7p39ruF+0bOUXfXjsuSB+Q3z7/FCYaJ96q0HzZ39IlqdqbkC+wIJ3VLLA8KjWIc8bGA9CsCeYaRbAI2GduNbrXexiiA02Dt4U7GaZVzQnfHKbQpWFfWDKvVi7k3LkKsUNZao7Xwxgf9ZBVH4mBXDbfXBFMLbunCfnGzEQwVVVA5AsCtXmRtegbbvg51AvikOvyo0y43k6pOCEkS9sewEyYRHJ5VSQ80NTPoGryj3JIRT2BwgZT5zrjWjOu1/cl+8ltrk5snhmszOFWlUvTNf3Ad2cFBWpSlZnp+uvfe1wmjCTCbTTflQjkqkIstLqVRfoBJftt0V3Z6jqgeKIcIb7ojqBJKKg9UPnmricw34zq0/WttvHN1lf5KPwqnVQe2stJIWUzYjQQEKQApBhAb30Tz340KsgIRM29C/SfW11N2bmc3WD4uUJ9PclIkrJTEbrSO1ikcpOU+mNw/5lHpKhoc4WPlx96S3DdaekGZ5DhC7c6W7sdD3HvQTXBEZd+N6RmpRK1MML8B73U/jFn9Zp0jrEH/QGiNCbX3idwrd0sOlSurJRM2oPHjt1meFRPZZW2K6BNHpJiNgvjXOiXa0soUeD8/o0yj3x80WOlOTf1yfN5kQySqeQOhqaqCVdpqIkhsVmwdiFjTTFjAH+sKq6ANeQfOkRT++sEp6j3ciY+xxSf/Wr885DbBZowLbdxwmXM5+10FQLPIJLvMwLojHaJI6ppRNIP8a2tMHVh7u/vcF/z9JMaY4ml6qsN0LvmlpDAlFkZ9rPdn1r2eCl219K2VpcPROjC+ZbP9r2h89vCuWNSjEK3Voc+YD8QT0vp+DBAZJwHB+mvPh7nKP+xPrMu6oyXeZ0U8zsZ1wx+b2no9ttj7u9rV3UDpElCXePQa5iE2tZ9S402Jr9+XH1ObJPh8HzoMJiDPtbxXz+SZRyqdw0xUOCwbxSNzCdgkpg5nL7Z8LBm4DM4GAjZVmG6iwMM8OERjq3uqz37ONH0wfeV7dyY8FDaVH9HORPnW5yAtwWvBqOAfxE2OiUUs9o18PAvVt3P5U46yV0rFsZJToSi1xKhPkfvThtasBEcuIPVwk+w9yIDvDOufQsADEXbmW+8L9Nu3areWj3+JT7XOfRg6GX8mHCI6lKuROcWl3KnOKrBLLNVbxxGw7poTHKV25TyBfCxqujDhpo6FrgjtPTbp9gyrFCdClOYc+VyR83UKq8xUk0AacaFoIecs0QyhTsPGuCP8lm5qe54aC6vZk/hQlOixr8jIKTY7jPc2SS71O7qb3sJ74rP1xhfIuppxIDnyyQy3gjANV8WH0z0bt0hvJkGvAko7PczUZ2lP4BbDFXOTTRqbgc2/M24v7BGvCPaoMqDc279kQF16Rp9r3XrEzpBoUWhEJ7/u1J9pIj1WESLa1sf/jHqTQtDf+79fMycX6fMVtqW2lSLaKeV14qmsObFwRSKcSta+J6HuvKRSKxVTx3pwDXr12IDZFHYLC7JV4OodoYF+J3kT8o8Fa3jHiiKZa52kYO7p4geP1DQhp9Rp2X4Hikaw3uuyHAPA2C3+8sKdQc1qvUGw7ckPOQ4hL7g+slK8cQdMP7OeWyYDYRt1r+lIK/yigglanfXR9QKhLl6AJ/srIS64h6hvrcqYCLPWflMtskZyxOE1W6DP+Ap/2axqH/lYfIrU52vtTY72/ngyXCpWzMJkrhtARSYDcjaxJrAoZZ2SvmxufD7q6aPNlg5PJgfDDF5ODoDtxwWxB/7u5LSN9nebKevvXIMZKmT5/EJsp6KP/9w9/ZLEYjiAk/6EWW31rvFVOcneNj3mokiWH1BeX1KLvYKGOWtZ+Bq3nbWFJ0uPcRWiit4OrlLF+xxAk6bFbHg4fCrFBA6v8DUc088OY1iSvEmqyjRImV2jEEQ1KVziH/XsP52VD7Qiy7F3Bc+5++L797+qk7784uF6KNlgGo2T3ZexyZ90it9OrmjuMEJIdZGDW7vnI94hRAO1nlkouj2393B35bvVskoxnwelS08nlX2Px00g01ePnFItGsgvlOFxzwOb9W/r54ulBqNhFpBKdf0jWCgSlTpBSU7p8REZWzttpmSP6vulMvFY4aWcgvD79dXZl2MN8CFArBmvUsho8r1nfw4zRN5vSA1FT+VKsGmiIyxnDxw6lYzdbURgfXojcC2/5ziVvc+mpXc8TPpLkqk2ffGIy/1JTK6630zpQWqLzLA+oi9ZXBqgjP7n+lNb2MXGXQqj2hAJziWcOgec7+hN90wdP2CUBVWRJWmYrwHt0JwrBp0uU+ikkd8M4eAwwaSH367efyswmNTe9jWU7GPUlmS5WvTCOrX5xvUguhUeGj69PlnS1sxhbXRBbO86Mnp4uWa3z/9so4+GEhrBe0+Q3d0ZMqvrWDMtDqaMV/E+EfepMnmq8rwFR8XL/DMFV2MUzd9NOjj8r8VxzJSf52c+hzDayrjq1elRDIAQHiC3YUSGXaEdF7uCHA88j+jFXY0He2yfl9DDOn1Mi/tSwtYiqRcx8u9n1B2jc+ormqBMs1BNXbzuqaJ0Xr760bqSlJidE2kNML/awWEDlD++qOnoPhXGNh8flfdmFJuYml/9U6NsxQni08T1B+wxI9nxUsbSbNsw7XQ7C++72e5E3GJP2lMTtHoJvzJpkc0JWR1dUXs5wzjhWrlXp6W3t+6uXw713EbAAcDqN1YkrS9xaheCoQ7d0+ibQsi/TESIflGWH6yfYSDjwBPwUCo1O8DeF4XGMcesmqv3xS84frg6W9NAx9nb7zwRq4K/5KBylw09xI/pFzY1IAnpUUfolbR3Na7mNB4QmZdZrfeWbetj2lH31rxBBFKq65OllFjBfDrXnIWmEGM1uL54/VKge7+wq+WXl+hpk9/FHPy4laT4Ya9NvXrHufxdgUXbNATrUCeXxrjuysV04VGVBgvLGTn3qQg1qFZYEL4P0rHa9l25kdRjm44hpM3S0JNNQxMMu2t9u1VuCNB8sAAuRbEiau/1Pw0aYBObVoRncqH57xdfdMp5gA3+1o57fhC+0k8xrSD90lQ3cVadBzKjFZM6yCgm2314CPwe9ZsWVDgu7KLhtDWmmlVETJvxT/2IVASmwswW/gWNYwucdU4YGnGHCkE5VOlY6s/JL20G+LfSdSmhH0UkniRqwvS2yWa0LnthHnADKUIViA+qQHPJYftPjyMGne1AUFW5gEddb1b53YzpUar4X25B9hdNQiycc9VzAi1jlmqzXLDjyESrIlUANhoH3+YINZNzge71+P4LYNKrlXrlBjKFp/MKcS3/qYBc1MrNfR4bFOCseu6XQr0g76C7nIpfqvGaMrTHvb7NNk7qawH1tvOja1oPZWG3FLkceBfug3DKVgRZMuB0vGj9KVYeQX1fO9rmZ7coo7W7ARNqEYnKYFotzbLknurlDwR06xFqTS+cq66OotXj6M2qh2SkIU0O0mEDV5UlLKGJW9Q4sw+JI3HLt8VqfigCQANmImA5YJU7KBrz034RfT9b43zYT//SHo8vEUfyqIu9vqBFYomunS/8T42olOollAV106fnZJoE3rkuq7J/qNAw7HvS6KfZ0TDbWLj/huUcvBYHZEyFEnbEP+bh45mQy8qplJRWlLsnupRCSWlolb68/JJYdqGJnAKdnCufsURlstx4v+WSQHrKb/rG0XkKuuemObIi0ps6bgfSDCPs8ePQ9SCnzITlvHNfWbWuXI4x4u1nxgbqdb3Tvcq0f6B1uLoVo5K2fsVV5sXX9xsHguQfyrGOqvqpVkuBFr6VL9xg0QdJip1OWDgwUd3DsBAd+17ljImXt/XsJyzeZXwoqDp0w2tk8seet4NlJ9ecpGKIRXnLKuqlrIFIjB6rHG8umHdu1QNiCGRI2TuJTp9LnEuRvJfGhCpfR2LFqo5uJ/3aABrvZ2IHjYIai82dpHBOjNoPk/9Z/uAKA5GCL/mkz9t6GZqxSDMZeG6ckpwGX8+4rvrzdge9ex7nKk8MUw6yFKcyf3gyMsRnRvNdYtsoQ8sq22V/fta8TyDCnfFqq6o2iX8UpxFTOnDrU5WsL6aYHEOQY38dXpmwAnZ+8a4fdJkG3hcVPhOrcuEwvgK0Me9gZYXw7WzNHWmg5NWQyN4+7NKiiKC7nwoqnHmela6YqK0YYQTOM9YZDHAMMGU6P6KsRgbzEjsIxisdh/lSMOmVsi1uHKOnFPGtYwliLqp4YJnjd6gW7F1RzMz+VCek3JhMGdZPA7SRT0nggY+lDuHnwwikeKq7vHDkOoX64QQg/RVApfrnVVEmijFy8w17zT2D10q/nAOSiQsaLTHNmLS7Jw1GgPEm5CnxbOb9BpUct1t4VZh0IQxLj0e1g7f38B/BqppqX+Y9gUg0uK/uIah6HPOGjIIILZtlqabG3u1ZLYb1wQoYObwfBUSK2CwhxhvDwbr7VUMda8iqWsKqq3ywu2MkyRsBfo7xEAoB/e/X7kRqIPkuHLeNGYefagkfbASVAgpVDNG2yJqo/i2zdk8nbrYtJs9B4vCQ2uy/KEhbIDdwWFWkZ6HJEeVwbyB9Nh+WgVoR5rDY8n4zywts4ioPeeaiymIfHF4m1GZV22mp+otJsmIowebO8XOK8/BwyLKPMtfDeAOm2pcSUs9LN7TEro7Rp6PnUDVzfjex4/ml/mnVVx6bHLEfvQ6YAuyRPxbL3fIJc1r5XMBBeUDSYTg2sMky7GcWYFDIE5jiMMYceN73RM+wJb23QfKvfoWRBRLFIc8PA3byG295oCUfUkNwJBlRBobZiyiWYBWq5R33psOQGaimxXo/1vBOQh9UHyWR0Vh9/l3+Ck6Z8ApX5y7xl43GVs7KClcmFQr43zAomUuSg25QZQ9VYqG/NeNjKL6axZZlA7Lo2d1fUC1xckoYWbKp9RI/wjtzIeJOyJ1HgpcmmW38QMXtjJTXZWKw87bxe+JbBUAEAcuAy5Rlce0mIl1p6xTGh+SaZVmHyhEB8wbr3HZE3wWAwGJ9pxmF+ZulWJQPAOWQSrPHC632Vbq8mj8MGZCL/4STwifHtFMzLiGNKRwx0OYIcU7/CcV6JT733IIl+AzGtLjBj8hjT19gKLl6nlKoy8TCdJFv6FrOykEidxiD6oYxLFDk7VS2xEC90SidElWSLQ8E7+fGhWGBFXvr4400gCR/bwQ2xfaavPP2Dr1GFJ/m81vxB7IECBIF4E56bWNSLOD1l4YdKc+EwduTMrWLaxldYSNba54Q6Cz640krYD3Mx7TdAyA2Afgza2h271mWwYGt1X1eGT0ct/MzGa7SKSvZzQQSZyVl3NNpAbN/QtZLbsfw+qWQpK0Oz3WPeQukL95MWOxoOgCBdQzYDXddkf8LU3dQT9g5Mqw61XX3MX55nQsqbQ0QtBdlUuqk7cQgixhqFnUM41qRwmt0k5yI2e6EQcekt9yplYlbEiiSK11P9TufeMw+SWsdP4I0f59aJVWb1XKg2CIS1VcvE/nutU/2htoHTsKk75wS8seCLcKG8Hd/tkUrvhFhNYaSCdOBA1s/x/7akqIbcoTHl7iJPiC6vDJH+QQ1B7wttu12ErShxq9p2Rh2wFF2M48FIba3r1Sy1FY+/eQ7TbUCPirIviS5SZnkANzx6F0GL5U4Ylb3lSzQlGl+pPp8PQzJZtHzSybP2Kv786YSHdZRNtf5tng72GjndomyMIaS1OcNNWU/z6I0MVtnei4KPF2ABKP0AGnNE92qa+BJ0X6Xea5HxVsQAv/BkRsoVyvEgaia1Zd6mvtZ4vANZGBac5zG0S7Ody6XSSem3zGLK9ad/72S19jhxYVprdOjpSeWdyUa9v49Gi7qVZEkY8LwY0O5pCfpqoP0pT8GovgpnB47N/L7bUf88nszSMHxuWaCoxfe4ZQbRt6Bgi3l+we3Z5pQKvGvijtkc7aD8BhWCFBsk9FSAIy3gX7FNPwwlMiNw2midY4gzF1wJLybYW0y6mTmZGYSGtd/sryk1WJX3+x+y22Batpkc8Yc9lWv18UALsaR37uIgKH3HT2YFr8QYNYxWfZb38eKLZktnmhiS0cGYRFrYpXdIroEFbFItnuLd34WxecrdSIPbfIAA5DNTQTk116B/zCzMObY3+ZXCbIrRryHGA0v/EPfMmjk6HffqypkDE0FeanyxMTMtCkqK73jhNKKW+ujwHMN3+96RK4Y4lHvTwfg4sjFENN4OCg+wfycSKnmdBPGS4eyS6ID4rnnZ0++Tnb7TI7BA24MNDU3OPUXRSI5BXk4Nx0z7o4yWBvBLaDXFIida8AiOKKAErSp1ZLWizYBQ/ePGfgKr7SMrSAq0VLhz/mi6pAGlZadygJ5URoqMAr8WRlzcDJyqDmXK6GMo84d/XKBK7nAxSYTXIhNHl5nL7dmmkynZru799vwrsZWyaMnyIyTDc56eo5jsbg3gkPBiW5DIWYqRCRaAgWLxPev38mMc4B/AF6W6yMkKnRTjMZilqWywp/+C4ZSJe7wb5FsjDd6IfFr17sC42TV410g9nseVWoQNHJTOauMgKFkqAo6yA9KfTuowBIS13rhVDEI9Ywp+urAcnScAvQvvz5uy9oOwH2TbhqTWUwDiuVCnYPA9MTmAXv2Ld2MmLlyHgJEvExq9kFVBQxLhWf9gM39Yj2PfnjV4C/6UxHaEELCMxHngDP51u+JNNydoyEMvBpt6SYgZfVe5G+ZNLnFwY4Ab1AZA02Lm/oR9TWpakKFShP+KggOh/gy6RzrsikzA1O8Hr6qsMUc4RYg9+MGgNL6INcOJT+lfMj00zQ5tp3OOLNi5v9jUn0WFowWXtmzRGzTiftR1H3oBwtNNy9PT7XyoPPCOkC7mTJxG1M4sjE/LQhStlaZ+Kkes23KG0TXPBSNDxqFVnM4SxJXfOXYX/YIsSgAi2InikxMufAvf08HJbRMvs5siOOY5BtTKoU3VBbdoxQSpaA01J84Q8cL7ZV+Frt0r7fFG3GaPoWunZ6ffDCpqUONjOYPjZIz/lMB8hxPsFfaGHZg9cuSdI5oHpaXRKyD4R1sMGTltqiIy4CTH+e4dXxtHQvFSDloNP7zLL/+OWEK9SzyStXU52Fon6SAS49+OJwnrhmFroL14KAp7NZC6BIe5/nejFwecLRErhVskpPZNF1xQP25ESgEe9GzvMw2VTQ5H6UoU28k+izuZrC44AJtFH/PPPNYOnzlVfe9aIWT/erseeoK3E4y5UrTUe9i7TmUBSH0nQieDTyDKuS/jIfS3mUSNdx/pyWvkzDM4sk7aLUrFjZy13XlxygOGqP1KZ75MBQMT7rXhQT/hGEB5TD1s9g8+9mYiMbUFK2TNV7s/qOrGjlsXU4PThXpgyaQCj3i/h7ULfdxnyw8uhHirgSEyZcbYP/hsMG8azUlFB5Hjq+h7R46z/peAKiIWjtaJhT6FO0jFOBlZMvJxLyr2F8YowUYxjtDwXVHA8FOKZ8xbA+6FeJJ8t419Uz20qzRq3qi/922Pb/3nkA1r0Pd6r4b5ndsESVx9Le77hazmozVAFIv3SfAIhYt6eXwe4Ev/hpikx+N9nyJw0hA8Uv/yF9rcC04r1WHVYySr3MwOLE+AzxaSPm5ZSSpJQpXUCPFcEAjHI68dA08zPZOIF54eXJCoZxZ9TdjObQw3LnoR6EomKc35+PlQ0SKJ3MoEqQbujHbr/Pn7WB9tPQTenyqjfMY59/VYX0IVyGy0PC4LrqfIExAnjxw+uVdZ4b6UvGVUfVPTWMEgycnq66u0n+gKYsx8NWCI6Jh60p58vrJ5bweQ0C1d++bcVrbhfGutjeD2EpRv8w8sNMETxE3vpaLIDni6njNBLENzWoqZMklq7brGga8wS+uBY+zwHbSdBy5E5PBVE2a9m/vNqw3OE5BHZ3AUopS2fjejD0sUwimKUhKQxKSFW+nopfdBSPLb/AditRBp0x5xtsPjy11IMpE/of/poIJkxQfKYStZnlowno5EISulBDxw0sLXBuEoQKI3zpFJoTlsCnSAh4Q7pR6dTBbsC2X0lNYj9isME+vo0soTnmwkh8m28kyxwo0vlnIK0YF6x9AAjoKW53xbLbPkxi7kgtMuxBbm/otQWx33OSuI/S053FBYFQS7DS7NGoc6C05o+mu7T5St8+TcO4sM70dnt6dFJR8pFr10m70CjaW9cxvc+Hri8KBrbJtAl0jK///6MLZZQfIqk/oI4F2EHT04em82rVWuUAuAv3LZ4tQ3fk72UH3Ks+R3j+rWqsxhAJFTxQX4IMOynA8WutHnnnZ8TL2GW69qNMcqznWUyHA+pjVoHcjnBndrIip9zxy+Dlov3HYgTLJiHY/NiSV/VkA/RAyaro7OqY54sGFfNZ3QBkLLM24dnNTV6ZaPyIXDEH4FUkaPec9uMfCidxSaLkNWF4Nnjl8xBCmYdvkPmKnpdW8Viyb93K7zdPvjtsDLvN+6u5eatMGv1lcjq08KqTfXe1YRkDS83bFK7LKCkJHluVlDOcsGxlsobS4E0PORdK+bJPmo+pN1vRuoP+wLfmKOxeAMCYNKs3IVuQTUbsw7XV752HNnxRHJ6YDDW1oB1YIy5Km2riAhmMPoGQ3GvbWHHVmfpOIXaM7CTJGcjcLGP/N0NkTmjmr4Ir7qqZ5Q+Ejfvwllplomr6bqmSDDVOQaDd7MGTkmnsQJko/wfiCtLaKe16tjT7+XGepa0VMHX+N+e4IafYwmF8pdBgs5WcuJgBG1ciD38XpKqHElra4BCxRDllApDnTQXhvfSsXpHrO/jXeQH3SB7cPtPaK75ah84g9hpu7SGgKf6+glCRFOu8XVq9XKaIjNNwDlZCZush+pGSl1l+eFfg1xa16657YDtzuLZOaSDi77TqA2KS8gF1/coenyP36xqu2JwPYbHyD0Pn9Q5+QBRCZVuNF0ronoW9N/EYva046u/40TGGjHvP44HZ92bia8n2vlXkWRDYZ5FuR/9Ed98znQBuKkOJ2gzRZYWdTeDQ12TB4+c57JTxc/rU+bhNR5VulAv75nFtV0nVTbLt93LPsy06da/hsJ7KvrUa6REf6Uxb4pzu+PSPi921/4e27Dij0b3BiTQU/3e1XBb/S2n9CN++VjG1I+o2OmlBP7HK1DkpxljY6GPuY+FxNRI2SGyiwaN+r2QO5IJL8aQuo0YWTJyRuIFVymGdbeJyApyjcfJH0SBABN3duBHXk0mTBX2cRj5/I5UumEc0VtIGd1Pu1V0prgeqVwg7c0vBNvUlA4eHQX7goiH+gQmPe7yiGx19nQe0dlcD21FsvmAJfHW8Owf87NpFNN0AlurJmqiV/4v78qSV+WdrhXPKEl/a+No5At1mU8r1UgXmHJKTvxO3bqajwmb5QeZ66mr0VpIp1F1fIxbsKOvZEJ8El2DzS+NzGyvdrmIBdQwaC3m5jKFbensDTohuR/4bEZUuVcrM97CjWtvoVNh8nE8oeRubLtx6qRkJg/a50u1WHlx+l7Ns7YxulTymzMTtfyJiEQf/ic73YLoU3cBWbB+eg5l0Zr/Gyu2Tv2cymBZRmMydluiSrZo25IgMTc0kK8Uls+ST7ycE/EsysmriS/526Xx0aV411lof7eZ2EVClYTBm1TL5j7cESg/zWTQP9n8rV543b9RAovGf3oRmohC229TbCDmZmv1vv7p8JCI7ZnfgMfCKiAZTi8VDIwctKbchpP+jNua8J4ZdVTIxVPI3U9tjzoPVd8pOC4Ow2iWP7dkg9v7o7JtGfYHH+WniiKr6sv1uJ/sIkYtPETbWJb9q5k9Y1hOf+ZgX2BgKeNUlQ7Mfj3z6bVaJgA1J7vskoaTS/otUnwSjNoUUbUgei3HNAJfRlcS6+ErD4PiCV7NWV55toK8WWBy6nuf2rQZp6ejkRhH6vCklPPNB+R/Q6biEl/KdeRnpiDf30JYh24WZn+eUvgAZcRDroFZf/H36Xdz1ookP7/i1xirtiJuyflPxESPeyKytUu9YmFSgPkmYO6+EnGhJ6y005qQDVNYuvHUUQOfL2ia5jM/nX6ECcm81AlXS5A6G6TBYFdFGwd/d/CsNxlRfxq20yyRzX5PuVFVCfYZuT7cuZJH6fBdUatrAVfZR40f88GSbmQHO++58m3Sh1ll3rq3OMp/Zmrfrkk/1oc+H5hP2KtTYb8fYzO9qYwQR08WoPYphO1EOije7NcAFupI24LWwtC4LK6W9UED5ZDbyFsnQr/PNSjD4QB0uHkpjQa0nXaHWTKp1D8RfylSxNMNZNfnUXcFpvxaTqk3h7hHBNiuqc5Bpg/+6XwcR0RTPNDqQbVt5rE+hu7Yp/Hob9DxHyRRkDwTdl3HpT6VjwwsjkoAAJ+wgEYgM/msxUkQBT1URDk5NQzlluY2HGg/I/EU/yp/4TG0B4yLixqgcJJqtSlrkuVara7y4oRqowagu0Hnk8pQ+fLBc+yPCWULkw9ZqRT9Y8EiPNrqW8ZRsffLhE7ETx8d8DRkniv46GYxs24Iv7l94fVWHf+5EJrMJyORF5Vwp2B41wDZzPLqbRCYMiEejNKnHUFTKI/MUqxLdYqh2cZNwmVhEngFlJeHO87JahoqXtcZ1fmaGN8pwR/3Jveutos7ljLECPwB6PCVjB7xXcYYkQB19Su6OHlYu1tno1NSj/4QMuM2S3nwH0m6egPKD7kYKxoVU8vyxYCuza2Hwin3OaOcH13w85Ls+K2N5SrzOSvnFHgjNp1DZ9s/iPCIMuOW3sL1O6oGUnM0OSx8UainJfZh1yH3J9ElgpKkvXzrw6EyGP/qKafq3HWlITDb8+C2i0y7ULPavcqxOUPMrJx51Hqm/Y2lDOGYtlKVLR5KYN4xYkBWg1QBn2YWNZRejstmEjGR9vZns6rc78HkVbffv8ft18aXDzfMgajaH8S9cNOMDZcEZG/VPPIH8LD4PhUr0PxxmM++No9XIFLLnVj1CYEZN3xUd+zNgaakvrOESyklLnE3W23+37mDxl+9pUTPxqc8oMrTzit0D/sWel2KvH/HEw0mcVP6JrOYnb7bpWB1dpiapnAMLbWQrwCc/zbGcNykM+GzoUVzgv3yKrdI4GN55Qs8onpYghlC5Nd9hCTQ45N9Q/KU25AKTSX5TSnxmdLc7kdMJopQceQqWe4c7J5/ZuB1C9YWQgpB2UroyALSpq9g6QLQi48cwyK3hKysXXrTgI3DGtv2V81JYMmgLWFaoXUoHHhbmi3kpnqWbKhfUifAHhb+ZZuNuKyaohWWQHxOlWD6CbZWMFHMfu8+ZF2L2IXKJAf/DniIEDhh8VGW2jHvujR1Avz1EoBehXw7XkKTji0hCmdkdGl18K8jTo0g21J99MESVKZqm7CMTDUhM6CYWHjELOlMbKIUIZfUj1k2v8r0qLjasJhBTuXisF/6HNs2X02wSzXzGWTF7voVcRQ8ErDtb40e72wNp7Thyr70/Jh1hwUxNuEpkXWGT/VCCi92HE7D+C3+bbEzr4WFu2p37NeK25pzwvk696UmJG/Slfex+9rMAi/hleRRIDDhG7tSPU7yKa5lpRokgwMXjHxMHA465MrNkEm4EDKwQr8+M7Zk4QNv9Uj/dK0U4XLJjlR00YCgVfSzeFkO1R/9OWZGE+DVAE64KC4nR7dJWYkdQy6VpfABdQHH7AMzY2y01Mm9pKlOYhgN3JkZYSD5E2GUgNEchLtAbw1VbdJ+VVT0K1d4cS5CjA4oIq1I8S+j5BbMKDYysGU2wAH8hEH3LMeB9Se0bYb4k7ROhxxsxQSwd5eshl2R7HEsPHqCCPAyXsbpiEzOjsscRMhbH8WZFhR4DrykB49c2VPJUUHZfGr+rfbgsiUZoD71zhli9OAY9nHGdoGMpGE6O39wUEc2ezycNRiG3oQcBLDdXPVf2htpCvecuwp3Iw1/Iwb2r3570hlhGGQ0cwtuh5XWQQ/S/J+DQzcZTn7R9Ox2sYGXs4mx16xTKoM70KSrKY7q4VLxtec36zU4lT9zzRbP5oFDV75/wnllMfVMxiBhEWNDhf8ovVFqrXeHKW82QvXZIShLg7Kwh2qsKKAeOBZVMweA+gRXs+fWJLv1zDfJHoMw+FRbRpRT95HL4U2n/x4TG3jNBNkoCzR0z2QJwz5PQ9dqeVcqJISMFkGyC2GlE8HogEhDtww9Dkr2T0DMbQcb0sND6UxMoLzdpdMsmVAZ02jPpoI3LPMMJgjQnVDW0sq6MVYhaTTN+/l2q+H0mgoxYZaYQQuqQvjgU91KUYC4AFDDPT8Bf5hSetZqkcY53pbmFfEhi43Dx88kW6w+Vh2TYs7ObHXOxLRKA3y9uZM9bfOIiw0q30cLLSyfpudOkwGlh+CGJk9xua274LD1m07f6HTru/QRHsDB3IA955vKEZvAdvGb+Tp7KCsuu9gyIQ5rXxJ1uE/6ZsWn6Cpw4o4u50nellZqbN5DtPktpACVUowdWmlKsuCWqJgxHZQULiibAITaexWeLmauoqTRQoeuBMTN++UtjIWa0GXCJ/xssBQVKdbdwWw6zNaTtoo70t69zQEy13Z0iprzNpP5Uj4d0XrpQ5ltL7/ErOdEQgbq6uWGPoyXavaq4E43L6kXrmQU1a+usd4bFcRPlDnpaID34UjvMdyUweo3JN8tSo4VGFiuAHd7f0u7lkaAsW5kSToK7NzFz9h8TgWemBFwZ+PAFEyiCLnb9RULceXQfJHbfRoWAJ0tdsS3lhMqaNC7zvE7Y1lgwkQEho/DYQaTFTdwxDmdtXa88b3LBF41zUkOHpGp500p2AvQpkDjRSfNl9pQUIxAjTCSygsH/FAiS/3QocHjYJyS9m4wDoAYOpaF3G0VA5knMZXeiP0/9qCNhh2MuUzKqGxgOQ5MtLQ2jGv8Hwvi+e6Ye4GF6Dv9FF8Nucr9ofqVtGhQa8g0zfj893cGMpuVrtg18vyDwf2buJI7KCHdQ5uZQPLSncnMgejRJ9RmPGwmgmHTL+D3s7lQcJ9FLiW/AxeLLl7ady1izpoZ9bWgSNXgwWMBx8yppDvmaQkGIyw8mXUzwTiCuau0iNo0dhsLDx+wPAecWzeO9MRrUSV0GpPvEmWGP8uTXiTMEVFYvdB6y/PupyZmnQI505M0ufPwW0NXncBPN/j+Xo1RgSZEpKwyU1X3rc/Y/3al8di0H3HhNHMeOa2zjRjZ6G78EY/YOYh7FS/Ldidvnor7Wk5zZIUiHGo/6vTj8PODadPcUjyRszBMr5fYee4pfNpAjdOoi2eUGUqRPyPycmhJzH3h4dwNTnd4lU7YdYRl7Bs7Iv2ITyWuojcdBwAAjFucdJpo/WbGHurvXHfFaD6ZY5yLfxc3Cp+5Rqv0gVhHXJnhcTdNy/O09v/3s4cYAWtUYMiUmwsWt3/EoMl+QwvOE5QBWBAA03L/J8BLw7nPsP1tWDd580rPx7xeXorQfSsNuhyT7s9eWFK/HQ+88G67vuDO7LmUysSBumwqAeriCT6mUPSvKEYTq92GMslkfjsNqNdVeec9H/8UVn1MDjketSWY34z08DFJUJiSLLHv1aRS0X17UsIEN4EmEZ1O3BhOcb0J/6A2Q2/rRfNPFSuGG4m5G6ugq54KAS2uqAyRCwfKs/tveadMMpoI1qeMVahYR42whYSHsxgRt6eDk8HeDJVAUu5x4F0uiarClBqipM76uCSoYP2wj2fHMxWuXtv9zUV7N8OfF+qd6NVKvy91vcPSomAMYSFtmjrrm1xCYtErm8YUajRHuK9ncmK94ccZiP1wShw7BIY970BwTRJBeC8cp7iilZQumgI7N5M/ncpa3hqdqskMHibBR3ZPbj21M1VyduncFAgLwZwy7WcV1j6wLMh7QfV+bj5zLWkT/u47PucgaiJQaprTLPlEMsmzTQeS5my1JMSGI3yc8MBxVUYw2y17ZYmoiIU/wY6Ldq5JU8vyxxo4J/Pgj9CjalaXJF7/BVhT8GMfkEC+qrHNvzEwDxqqDbkAzARDnglmfGKs1z3fQ6jZKz+bwGwI1Gns1QrjhoxxnLHmue7VVTFVcDzKpKKZ6sYraA21fF3lBaBPSftv5OMKtPLBtzp3WInd40YMXgi/EV3vhhehaShrdaeZwbdqM7Gp/kXned3Nu/OeekFBWsOKMj0T2UfmynzCTR5+4P3vuh+YjIeiI/gxApwqvJFgXAZMHEV7CCuOL7zwWNcLRKQC7ckJS8ebKRTzsgUx7z+c8X0P8lunGbpZ7b4rgsvaRTeW9euOaNqPZ/gxJrN13tvi0aAiH/EVOKX8oEu3XyvlNspduJqACALy5ZDdw7oAJEpjVcN0g38WMVfYjblNVzK60xc6iU6zMTEoLZHjyTOoGI4e23TbhchXUldktxRMHATICTxuFwLOaH/Eqo6vgH1f1xm8gdGtcHU9rQO17xY6+ntx685d4oKPtOmOCXQbV3DzgytWHv0FVxagXh3+QcK/0GLy6NfnyUt9XfryhhDm4RI5vxwL4x13RpY0fuPQLzl+fMdMcBqzIBVRGVPo/lB4fAxtGjh/t6jTvkQGg/1rzTKs6ILE+3JGvc4Fuxe/nd2XwhTk4DidgPuaDG2W28MfSnELhHBTWwsx6XTdRXIkS+UwoczdO2iHepVYP9TuZEg0UwGeUu8aXxrYDc/RPcLjBK4e8o1/nNoOCaDAIzLUngiFYM2a+pmCNIGFikFun1HgH/yeyjOFXBqdpE/Q80+NzfYJBZyCS6UEDTXP6YjPTsGI6kyvwtNbLVD2U62VOrJtCh9YD3ygdZSIKRKUszUQElqA/+QyKmR2jrIBGWkHYQFGOAK9Zuo3uc6bB0jGkmzHmEvqTdLPYOPz8kyUodH77LFg+a+QDCgReFs1tzxvYKVoQqfXbld4SJ84c1TEZGbShDzMeoYN8UZyKt6wYJPij8BW8+BXzNEyKET3QdefEx8j5T9eW6wkYJ2BfuJvdZt2Tv/LHZIv6FgvqoPv3oeFGTLQ0HCESCafcNkUeR/F0AN+TsuYIXHtdMr9mUX8AR0roGYGco3DyDoTFSWz9qjghz5IvmM6ifYul7JW9gqt1S77/5+9r6FewljSF7rEvdDeSzE5EiSo6SNBa2pxbk4KaBS5EDZaXWNbXHNi65DN6214IsELANMHQEt2NyMLXnxp6izTV9fn3Hb61dRaNJa8LTp6Y2het2d9lTmaPprtQdNdslojYwYfzZh+GPM+dNIzUBZbdOJ3M3YF9h0lu0IEY9tZQWZBUJ+JGUaakUK4HfxtyIAgB4mSmKi0TWe1RqFPOLqWiJZeb9IzgqOiauL6+NRoAIvvUwCaVSMG75iTgF/us69oLbdgo5wV7BG76F3Po8lCfmWgULDFPJQEe5KJpenYjgV0bXTm+oCzf0eW1gVPk6OADTUkdx4bxvlyIx954J5VFlrLwfpc7Yn6ZPoLRq1XoN6jRBPfLJvwXFCtYH+zQ3pJ2Z59aRJpv7x3co/kLHyDmmy7NhCbzcStxUx/rAzrKYZZwkKnuPuNsHENbINXjg/UkJZT87SocrNJDsv1HUVn8mkWGl4HoPP+N/DWUjVH4HUr0oX3Pq4D2cgIl8oJr27ONS14IB6HHwroTXq/Tqari6SUnzdiJmzgweysNpLmAg5g8p3pnF7HZpn1flQgUUvSC9y6885UQ0lvvZgkvMgYjYKjRGeMd/A83eexfKk23Hnuy9Ohj09ZXFAWjC5egjuFzu1SPZozfbKB4WO5YEdyL6dOkq7rC0Vluq7yDFJWSrBFYkFntDLHQnc9xHKtXtGyyNTT423KTaG+31R50Ni0uQo5WUqMl/0JRkCsfA4rKA35sSAH3s4n1eul3MLP2vSJYxSHKDrkq5H6/8oX/zlB22g+oPdOK2RABuktzbjdaNu3FgXZcOx8WtNGWXDTB/jieqT9tncvg3Lf3UsCtzfBG08BGgDl4xUPQxTXr8acRb0zhOd6yHun+PTIeaAYMzmA9G6RNMFGQMyCzXFcxYWvVJ6GPOFbaYRpeghcvEpc7DB01eTZiK7+T9NY1SakUDwdiGjkmtKOXt6dN+vwwASCWUn8jVeHfQsnuE7qjXpOFRicbh1xr4HSajWiDwvxk1SRkySsn0qozRT1hugF60TFEMrYn6ZVoq+CBtqCoj6LdnGrjpwEkGgY2ou2XpTWl9rZ/WpcYu2RfBUa72Zb9QNwE+5FOUZJ5o+9Pk5bgPH6vAwk8SONs3H7d3/7Nou+RU+AVrOlGH6vc3Y27tPGobhGIcyrUkvUgq2SUvLoTxXdoRGnmuTbl/kAG8/I8GDuiDJzZjEMBH1gngLc/koKv2Da7I6OONzQCSHfqbUagAHOKxj6h6JIWzVXetokxhPejnwaGOnBPLDFeBRlnheZsiKMhoW4IFJPeHLsEDqSZ781AF+tb85EWq9l4ZdFCuGUrfx9pr95t6Z6kRnsuE14Bmvv1UQvCw+oJ4o6xwNZ8ESoEsU9JjMybZXrIt4oXRWTO3FqHdTsxhJ5QieVg4ELcCHtp9E+s4deCHECWQMKT9q2ytOrASwoM+wQ7OJDR8fKTveqE1SgA+Elr8KW+Z4ATkt0EskwFM2qbmUBsVElZEQtPvn4vApv69/uw5rWuyoOT/rMhsLZvzC5m7LR8eEDhlyO1GB5OGkJ4dHPqFvScJ+hYNteHdx9vDtxbkaS/Z5H+R0mUqhoi98lVgeeyFx76GtfdOMvC7ClG9r+h/nWaXIrrXPhMIj9kzWyVe8Rr6wONYf+/nDgqneaF6Flc4AB6V1Y2UCKBL1n4vuQMWxds+yhAw2nh1fq71DvmMRRf49hplLKls5Vz0UhbxAkoRdDDUq+qN5S15+/QyrWEOMBbSOROWEulhqgMJn/9yblDogzztWwT2YpPvTAHEh76o4DIg3VbH0+x9laemRAe6W4c9uVxkyXFjEjWbEA42Kb432x2YdaXopmf+usHdrkgPq2CcYVhKB8rmqlOitGHZrlNZ22SyoMygABIYkPGsMjdDlbKlvxaYSZ2l065wX1I7uN0oxdmkbrX2DmLsSaUWsMh6LDbCsGq3SNq2kxaOPZCAjYLM/OZuNn25OnMlQpcnFxM67nB8mFTOJT06MY5eXlBHT6BPL77Q1K5VVJbJO2gV+0aBboY2DBynbwV1Gb///rTypsvb0p0w9G2NUz//f+z0LGMDCIcf13ARV3KN5c9bdq+NcmOGsZXyXBwaZhF39xo7EvabXuswKz+xYQxyS+CZXazOxvsBMJ+qI3R/XffG1HQBE1DOr6mY8LNAx0DW5NcV2uH3deeAqg8wRXSt4QN58FoMmf+VtQyZ3LLI4l6/94jsVSm/XG23QJIyY5eXZOM1d7c8iqDRrEK9UBF1wxB2OhLBCBYG4fFnRgE+4aPOJqqEIR6RN3Eq5bygtCRu5jOEM+v7fXX3XjsXhwjWr6BXR0s9WS06rho98lrHztDxtKLOwfMIfeABZAMtQ4wK2e0kWib1ovfzn89o2IlnyxbAzYYFTTguq7DAYZfDJMHmCGYZyS4MHTqDft4ljkr2mYbBWF2LtL++UeERz0AViJb/qyVcK8dk7SiE3C4q+ycbZd9lxZrXWbhRrAbjNn+361qJ3ilFXofsBVeNNjVApP8QhymPZZgVPbeLw/1bhwXPGk+nJxZMbKbwVj/kxgYRoeTjJfdOTE8UQgs/IEgqataL9dJNssWr4a6kzEwDV7R6TQWLx7NhjNyv5jf5MFTDrVwT14I/mKiJP2AJTQ3fRPGzuqmspS/yU8Av+ru8+zQnjlHBsqkUCx4b9+CkdX3PnFXLwo1lApvTR9Xfsp9eteM3zt6XD2qQXj5TzG7L+fWw/U62wZscc1vo7sKuDFxmlMiUBFH2Y4S8ooBe1qzc5ngNjpAk3iiysGAKuclpXWSIrvHSAWGbSllymYyBPFsX4/q1Q1RgyAMO7tsdPogTkkEJncOvr0tHmiBnqoppw/Cp7WKPjRI0180EKPUiv2gBcGiAnLuhdtcatnw76RFqMdUvnHnPO+oyKlusYfy07MPUtF3cKQrRYCCkNyYcvkOSkEOqG2T4uqbhQdZ9s+3TTAuWrbzRW6KBC8oSultdJnIKoqE6VUXB3xSwJu+joXmXSUwWPAY+TGPLxnM+BOulSpYbupyIiJuAlqORoenqMSW9enKUBJVLIgOZwbCMh2rDHSaFT6qxX6kbd5HQVxNVrHeF7D/a5D/4J/9NtJ40t7lN5hz80iXchDOIt2RzKcpgbzUNdZe1oV+j3Vn5INUcSkUQY8upVvy/DP+G87Ni0pc+VGabCOjhBiAlSHZiaEN6TF8mNrYLxpalzoHpUlO32EufTk2R30zHnnaKtU+Dl2I+ECJgXk8fZLP9U9F/p30qYen2HEwp/o2uyYlUpo/iEdIoF9NfZeqdyTgF1VPeHRgMpDt9cm++buzjx8hVSJZ5sz/+s87NNJqeqA+F6iOl2WOLpUXJZBp99TiRzK/P5arZaiOHLLq8X0v/4WJ7zBSzgxtBHpN4JdhJcN3kjF0L6tAvdRh00jwkPaVqlg3RgKeoT/P+7pOjif62cHqBL/JhLbUiLO0bfeYDjgK+M3dhBoZl4Vf8yxJBnGKA6w5oEE8vsR9shjbKiyJsKq8xg/uKKRPg2wXJ35qyfj/NkIL3OfpZzauXH7L7HWEwkeTJF3JXD48yNOLPYz4/GPXvbsPNSapqcwKGCVzHvYZnZ5KHPPFb5aMCrSyRuZUf/Fbkn+e0NA/ooYxc8ouyOKVCTla5dQWsiP1XbbvahTIkSva9Wju3kVppgInI9U+/zdObodNacY06fiC5zjFapCx6e4oNOXvs9OsIrIAmIWa5/0UL2V/4K8MgFPeQq1d6oQ64bp3Mpb++uXDaP3BlSU24ya7C+zgrUlbjeD4QqjcpZbnEQgl++69C1MRayad+EbQbYjvORgmMRtnmOQpK9xQo9KTBdeiPpHpB5F1YJECIoiT7ayIms9WlwMs2BpVaAMCl5SdSp8JBr2wBRd20AsW9h3/wV/WUcazF6kOF8Jm3bUFrgCgw1GB55adkT7g0kz/sYqmG3TG0yO6HmI07k9jXFUeIdN61Ah4bbP188Qm4Pd0+hQAzDPdrOVeKH3tBSN/PkxUG4JzS5dpHQ5qXgNo58ufG1J6rkmloQj1Lqcn/LTJOIJoKZmYpmoSD/s6oW5qbimhhfOl6Ws3T+PGyu/+GP0520+msreJRYcwc6Zvj/x2G4lJfiQAaYtileE/JIO8fs9iuw/LLjan17GUqMV0XQx+qI6nyK8Lkg3XkBFr7YqT880/agpKrC5sndmJvFWTq+FXS8AMHtayVyk0El7w2XNq3B9WFUaGGCl/WlX8evHgkmjq7wZVuWYp3xduXN5XHPB1Wk5DgRF5pYc01eFxrTQC/J0gJa0FEnH5Ny2WpB1xnZS0aoepALb9yzkfSHKcdNBeW5chWTwsQcKPzrIA0MWnj/oDW9qLKdGFNBGAu1Fq1QMsjMI9eV2IwBfOmkFDy4y6B/PP53aYml1Se0TrmQUqOsRlBhE8ezv2GxQdgIbOgUSWi2WgIQ64YdQJNCo2mbWkblXYfcZ7Tmyy9DUkzl9MEG/DJApZPiGR0r6AVRpWIAj/HAz4VT1aYIzD0FtDpOMrlyn7O/vmgerZDymGz7wj7/hrticf6Gf8xq+3y021qBODl4t4tZD0VJBrbx1OFqRINrb3AFH7qxpaZDYJCeGciQm+La5nGHriLfImiLIfbsN80MvrAvpbXIQ3Nj5nqwF6P4M059Uj57XadvUfNzd8XYSVPPqqnufaw6qHNuDM5ZEMl/qb4Nc6Q3D0j5C/1w9RmTzcfk/uoujRpi6+urtMfLORq2USPog4uQyOtxRHukKYoQPczoeiewCMoAIXaVyVmk4l7BTi0m1aI+hvlXoJJU04HGIXww8y7W/Jeojw1mHEJ3uDLC7pBl4Oj7/2FFfN0Oo4cxrA9b2bykFVx0tIM7HBPQGhn+ScGePNfqve337L7SsY8Uzl4mr39y+05yaG4Ljeok7bOHPoP9I+YGFhhrAHHifFpq4HK49puHG5Ep2f72tJNQHkOpP+0t2R3B8bJzx/M5zZyh1rXL74aKTD64wK+TfeD5kLQ1HFdZz9blh7883oHH3JSSu1TmrDYp9ll9YiW34Bn8g34r/KPm8OooUKAl4rpDyUVo6Hkf27pEBy+cKn50eSEwnYZ11T8TI3Eomcqrenm9OXkkMH0QRH1Ld/XynO7fBsZQ+qi6eBY+b/2yruzHo7zmd6zFuDiJlwa/qqKEdRnzMHHCqf8ott7its531TcTZxD7VVIB5PxMWyUiZhD30rG6tBwmOtDNYnd/DRMaeHYM55QPV+tsY/niDvHX8Z4ip+kJVK2LXB4n68RnInSv2wB3pSdfddUXmYkPAMjs0ZsGREjUOQ01xqr3DXGWQ6iPiIuNtYo8l9plqJRc2EFtY9EUCFR7ZjDgrPr9wHEB1h4xhwlx8aVdvu92Al1ps/AnmSrBVLSMdr8/KIQh/pPIFscnoeoK+dTj+bzt7D1gYC78yobJQSqeS5uAzLn03I8Rsh1MnSYbqwL9v1BRWuRoZ6dFXnakZ5T7qOB6gTMU7E29X9c3pebPgM2+YqnyCOBjf0re/8WCD9Ek1PUCJe8bdMdH1OXKTJwm6wXydeilvK80J/BEY+2orqKhbnKOmsLEpjL4xeD2Fa66QBCkv0BrC3Fem9egIwHwcC/wkjLO43r8jR/SSwx+Es18qoytybShCf1e3J3wnt9CucrlLnoNkA22VHHTkXdbctlb0Ro3UaAbUs3aKXjBi9o8DcrVQZ1w4dpeD7rBbFspC41AExgHEW1gViLV+0rc85vrq3lyZ5oi1+jEsoY5SCMj5a/ETTwfJy6mDhtZs1QidkxPofjAfGTfGgU3OFsgLJ5G3KPT3SzhqdhwbOwr+Qy77Fj9v0mr9y9lpgbKxQOuxiJ0LNCzBx4L1TCmpRp/IHS4PeA1H8KeKcBwlC+UIjN5Nl3OPJ+1EOiLokDe1MciJpswwjOYhb2asMiXB+gzbdXRWWDSaaVMJ+Krc0t4DlU4kSCC21OjWvgTaTWOy+FZEmBNGfFMJs6cRgA8rNwF5W+4izF96/oWGdf5659adPnMU3Vkx6fbrqLJOHTGzXv3iD82Eb5cA/zpTEx6EQ0genmpOqzsgQgYG9+JDwvLEvNlVNAO3E2DpKRg/fZDngOETJaAKV/XCzLpZnig5N1VvBPNMWGqGRhS5r03mF4qYfpOsLhx+3LaV1fOC67wy+N7dgi0B+F641jjnU3hn2+B4PBzSTu+xeA8Qy3JPRxSNXJtmalh9guBhURgYjGDUtqb6VnzEC7nOI1QtZtput5aJC7oeUoqMM5h6D01Base/lO1riJFMcu/0Iek0jFwXx2HPsGBYaJWv0SAsadZIbFW4sKg0RAX5AOMlmq7Ct8IXYOanzm+79dZbaNVSOkchOkYZ9LwVtzIOHz5rFKrqh5ilCphibS0kA3+mZfWEsmtRfWcQUxrLS6znNXQvk93R3ST+bl55jzzLRwag3St0v8llwo90Bxpp0TmYCEFWFuZVtf+nCPSDtl9zklRPP8pViAMMIVQfWamLX5jzrOaGc9qVqB7uglKUjdt7lNAXNVgimahiRLcbvte8Cc51A2+1Cb5cnlpq9r+UJcYTYvytj/rwyz44LoKKgYJv8iZjtKuQAHdmF2YXNkNlYX2etMMaumKVqli0dlZj2kVqFs7FVfJbu213+3OV4++7vlHdDtQoCyJLaDYJeHdJOp6u1+VrfYAM7l36S0kjbq70+FuaJeOOdw5sqlyB6aIJ63NyNtTqheYviRe3A/deGQWlopTcmpCcSVbVdk4r0kIvzzX/kk7pYt8ZJ3i2KR6CEp4hzOfXylJHfywHB5f5dnaXohpxswqLYabUMHZfuVvhGCAojLtbJTYfAlvvrlfs/7WmmVNuVv/so20DZ/wcNEDNfBd89hTSXrM4ivBohST8lvfnF6jF+z1Sl5npnCP7gFho/bI5kKrD18m4X42zUKCaGV/ml1ngszmU+UnPHEwbiANLuDUfmIZni0rtsbNK9DmrpQHbVRW4UtpflINF/Iw/eJG/t/b6CFNejtR+rLtJVgEBWquVlms0GYyT9l7QGN3ED3A6RhLMGRfR/nXcehmtuBOO5PLZiNnuUG4hoDDxjZroH3wl5ofMEMOqmft0Fk4TcQyBs9VqXWTr4s7E62HCRp/hbiiG5U+aQ7Xuat3W/3AfeVEZUz0VoArCiW+mbpApzuZ82w9Q/3tgT4/CDqRk/m3DtDRY050FMpUNrrCmIJqcyMQ6cyUrftPB+K0u8SRJG5S8HNR4LhrCp48uSE1K4BDMIGZbLN+wPjz2lehct3K595GuS4RFalIp9IAkLcZbRfQ1cmMkfXOuzimHjWwcLXvgw45SvCjqjopdSKpaf25X8aElIfyXDxD0SPuOB/SZkIfBBDgN5BcpaIw+fGU4P2E/A1wf3BxoGkhi0FtUvqgK19ltDHA89EtyX9fmKLvrIcxrwk2BVlcTOmEyXyKxCu8NaobEMKCjMQNAme1oDImBLvwTrWeSkoLC3oOOIE1IjrUkWONqpBabXC3pF3AxZ86w0oIDdnn1J7/G+rmN4nvK023S3Zz6G7cG2bFQxPByDAgC9749HwcqwgjCSkcJdcrymToiYgQBHVZdH+2C1RFUV4jI4nEGatj0RGzIWvTSVNMfLqCwLY5GvYPm1W0zMv4zxKlW5OhAoSy2/uoQQXLLOyT7xTIKC6VkeK34cGOtjxB8SFHhQp/lrr78iksetiSVl1nA7CKWbuwWjYxtPoLXCQbNMzJ4Vu/vgWY7OW0VyTL7po8YaAA1VA1hti+3A5NDOC4rMDRGnBKqAvRjvMSGBq+o1MkndunXP7+MWogGL4QwG+EkGGrlPoIOmOgrwXSyYe8JULyJLaHNGKaRC7iTO1XryiGIOI6pr9YJuazpoi2coOwqipaOkw+x3G9k99fVJH0fMBv8Dnd8MrU7b3YE5gppel1/KVwQycl2317n8LXPadKKe4jqD1KHp2htG0FA82kesboKiWnJghn3V5BdVSws066k/NjmdLCoVRg0dll9J2cTrooB4uLotwm+REBr2ua41JBinHJ4UeICijvGCygxL4oTBYLjWsWQ6JHSCsOjxsyUotOJ2l0rspqk7IA9TOIJf6HqJaYsA9RW0QgyHLr0+ZdGzzt1ofW3ILaDt5DKW0CGor/Y3hiwbajE6V5dUQHl+zSL5CF5ThsKx6iD2VlP7UWE1EhlEurCj1QCUvlppPYSJsCieVNohSCeI5wcu1RW1dhDBFZcI6pxnk0OiO68HGC+8pBsMO4Azr850LFuDW3O8bac9C8kKnttQ27mvMQ4U8oiGOkMIy7D/YvMn4G6PIDY2qCf/d4unJ5lJizYqkN5X1N69juhUjwLHdA5BBumhK9TfFW3jBoCXKa0t3jCgwWUJ5SoGyDTVjgXzzSETpyaigdaMIrxu6Z+GU4jrLAOqgD4MOrb0AdeF1NOAzV/P4qKTHl7CT/UvwhjCT0XEwYp8Vulx3B+1Wk1XgB7raY0M2XpKZ6+PB9qUmMPhpCMVKNeB3IQXb5ogbb8E7R0ZFnSHICyTH8+S0jaqF1cwe4q3kBFrmk20I07J/grpYthWXQSWB/Vsh6BGOTTTfeDnFBuE+Zd4NcH8z3+RpeK5rN9FY0Pe+2TC0zJQp5SqHVX6htZXolMdZVuEPmR3EvK1DBXjenm5iMtkgbJ64ARTMKHHZkiIiswqq0lFO2JV5xvMdFkUh7S08n27y6qdKmJoj0dgLYJ7g5a/m6egd3Krbn402ENZDzF5gBgNGWlXJhdc8Cf69wYHV1gbpeKjf3SdA/QnQJOqvt00aNs3muzwlUXavx0oTWx2AWeAWSJJ3S6iCRbntZU2kBGPxj8yugxdH3i5WxFsoIkvOvWgJFcxdbaZbR0qniUszohjeED2yDU4FlFCWJNYoaQQQKgk8AmPXj8SL1cuC5LNbmwqBc/zKHwEqLh9t8BMrsvAtnAGMx/UnfxP6vWenO+P6D+dHr/fZX3YB+u4SPnDxQa3d+EdbOoZrd4cUbZ0+glPkVl/uefOFCDOXWkY6ICq+oyr24/F4A1gq5eOtKB8p+Jxoc7IO3u2RjFD5kNqbG1OHyR12HzowDuVagruf91DTKuKt6k7e3NVSqXbosUe0xYj/VIDfPCq0Jjw8clDRxKy8GDTZaQgFnAVZQhkXCzyvxKqfpczdhuyprsh8RAnz1kJ6vE31mfafKohE8kXssJwOhJwFdXRyp0w5J81HbF05wVIafGy0Oui0KozG4/PIIaxVMHvOV+1Aoy/W3torJZ7iJWm/GCYvnktHsOKW+nVM/kRSp4vxc+hujjmVdLEPTi2Xj4p+X48N0WQuxA7YS4IMWSao0lHYhT/yTP3dPh7WgLJxqilSBVk6UFILNFqF7s8DS5dPdL+pl2H3Grv7A9vCLBW7RMdOkgflItoBqeJbVIliFhlJaq8tje3ogKAyCC6VnOZie6xn0FTM9rMju799P3Udxw4m4VAUnPOuYznhRkl7/FtO5P/pLvZrb1PypvR4W2k+QVwQSvn/fR3uIFWgrPVPDyYQeVhhpBiPVmAoocbS6yU7mduUxHIC1kO6OAroemnvKmUlCkS+98gcvMu1X3s1a3HIINkHNzVynUP57v54V/A5xIxyHiiNdFUP2Z7sJ/KAYg2Cm91B607qFakQx8+A+rg8KjdOD9pK9gAPaN/31Qpt0PetG+uji/LEZ7ynsiLVu2C52lfraoHmJ/IuyZv99YEDie0Pl9yurlrw+2TXqJ36JXBFiybEMOhLe0WWZWT0pW/tOM3moHWT8ytS4XcwbAIqBoGslIH+wwKNbgje/UKYvBZ3oelk1VlbfQmK3uNH74Gj7jd8u46uGtMBxeBnHbrdf2PGOIjn9copSBqtA9pimvBn/L/tGqQ0WbcvyCHv2RfqgL2RHxp6UV5RjGS1fRb9AEm1kbFr3cqe3Pfu7FZ2u9NEzhEiLXqGzfHtz4rl1eoQoPYNEK+z7D8W97a2ZPMW4ccfrnC9hz9gMMTfazZgqqlU6vr6ED7LaaOyObsoNfVh/zj0jS0csjiQRqDG9JXvNs/SqNXjn0kUE8XDmdxpbPT8a7XM/5297tAinr5sj0ofQXnt8WY5tg/+1gp+UaTKFTBjSq7ALk+MXvzS8In9n8sBawYVfKm+q4KoqKyDgDmMUdh5rjEYwFOqfO/cNo+bAITikSheDDmW8t2TAqkPidUwNo2z2qL3adZWsa6A9kz+I+hh7ojV+TN+5KvQMF1SMQFckHN1A6r40SihH5NpZwxkidPWGbkgFTT6AyF04mV+psq4mRs/vjzh1ZSlIA/saokbNUEicctSffZlfOrK36X/qdz+xO01eZNkUOfC8TloXk0uipRNLlbh7fbdVYI/0NPsDgYSWHvV7Rnl6EvUTGHZUHrYMYtrKIi8KEfT15mLnyvzxPIcuKJCan5wsFTs+zscK12Xq6D61CIiTmYHl8vUykp7haXVvAIVU/EqmzgJytrcANC3Olau2BN1lrlG57yNB7mVi0HPp+nc+kqVSSlJcRbCYI7y9ZdfYSkZTyMasNCppNHAdq4BUqpaa20jC4y+Hpru66DuusQfNInpUWCZoPmJ76knHvGwi+kob0vy5KDioweC+3FygAXGPc9xZLI3nX7pHfmqEiAU6RwTSAEMS5kr5uMzrWtbMSe3grCwjRqjX1M2gF0wzkqUeAggQM6UkZsUnI9tDw77ufxGMXMc2H9zaU1pqeWAVwyMwHwudzcfa4n5uTU93SG+uDP+IhrcbQpTMUxpIAmJBApCVY+0MlxFklI3+PSWWHUdqbGj+SKwSBOv99ILEZuFQqTPmMm7UcazmLjrpdlBh/22NtHe59WhCoBZn4pB1+/MgqLJ0Pgx0fBj/EZLipjjzzJbTDfNAM7FY4+wWZJgc4av0uCsvdyydHJ67JdrWFKF2KxhujxFaNCsvs0kHBRI6EgN1WhAvWzqr0PyTgMnyw3xZt+fab3T9755m/eboFN2o1tK2Wa1zHsaZqQtpXN8ySA2io1mjDPYiJZjmM/TnNqrPfuqkGFQhqVE0vW6TErOjhZD2SP8GRHXkPZNYyYC5mJvg90DKS2OwYas8nFcx6cB2SxT1KJCDsdsJV64CGp1eFh+3yQ9IrSFPglYYzib3lixhTGpXTiv2oS6IekZMZGkeU2cJfB1gdjhYHho+mwtSrFoI2rjVlwnBBnW2rGcUH+NNNSAlzpR43qOKXOAdfQpcbaZQNaF1/mfUslU2+U/ADDCoYnWek9Bcvip5RYBeAdy2ME5YJmIU3ixMClVOKRmrlVj8BWpC/wWTMHLo/Tdykp8239G4BpJwImIiSSFpM/67aF9uQHkA8JFrpNeKUO1hyCgraBSWiyWejLqM9Eff5FlZequ7wYHa62T59FJQ9Q4biayho6lOJ8k6LJ66sREsijPSCmNF7on1QTJ873eQRhVQZIGYOsCRBAoinIDxrLI5XVo9F773INzqNm14/Qc0LZF6eE8HYrpvgKqQJVt6xgiGzfcX2fNio6wuGw3V1gwZu3MLBzgmP4X8ws57xPL02kjpZIqqKRngnhbvxv0H2qFBuFhE4KmXoSTFwjciLngQHck35e2DXhkl+Og+UnRW1NtHXLI/UrccU3IOcDKsl//C20xuRxNCUzX0J8h179KAnJKVMcRPvrtZlBhoq++6bDePvVIoaIfsQKAtO1bYgBubUN7mjd31XF+XGWgG9iwvWcvGH25OoPYTlUJZ3gi5ZmP9j/DuPZccuAXDf04oZsCsM3sWmrKqA6z9P1Npmnexxp3RGqPimwOdmTmd19IHKNlnti0Xzm+vbRDpUzupiFwvfHIb3xAXvqipcAP9L84pdtykqvY3x2Gu6QGykfqgxpoUKuwZRVwqow5xJI5VCHqAJZieZerPUtcfJd/vRmgaSaanCYgtGpNR03BH1fJEjaQ8rMnLHjGBhRdOnXrdN1cZtdnOF5zes9zI2y3wUywTsTN1Lka6O9ynOKeq8GRz5BDdlyksVOPGfgwuSWKJ0L2BJ8PuE9urskmjXSsm9B4+PwrhdpcuV/ak/7PtqHF1HBDs8UAvyJuPBIYfN1mkWkbzB3qLefh81Cp9A7YUGao54Rez6Z0vDCdaARLf3j4ysO8A24jjpsFaP6Z32AjLdujeWaGwKKZyFaIZgB6thVhCQ/sjo6u+PzhkiRmcWoUhq7xERbFS3vcbFhuNo1Zrl5W4MFVJ6gCIWB5PE4dR5Exy+JvbYvJaXnSDXpqO0/umKyLTzLWGStMuYEspoeVi9Sk/xb9ZVOv8CVrpZpQrYlHYFFX39gVZAnpy9U0MgmzjTk6uWNTR4lJh7I/W8M8X7oZlQDa7NBh0Z8xEQIbZcIjTrFIalZqZf4/luj0RAgcQ6QeHyjcfT2Fy/rDKY2OufAOKZ6cn3NQek2JYB2Mlv5Avx/Tte6xZONSmAZHTCC1UQBuRcm1iQ9sjKDmLMxL7aaOwgBYYqOCHcB+xDFZT8eslzSNGEwO9dPivITT7p1P01HupOE39M8ibqg+tGusJUBFMlKKj1xrBznnJJpZEpjzriBvfsplZLy3niEF4mKd5cBdgi9ZCSl9tRWsy/ECdKw/762IBhS47n2NrQCRchRFSW9po/jxfTv1oFNDeFHnUEkZBROtUH1tdQrSzMyfkEt5WIONX4ihwnyBtggLrsXHXriICmrCLG1CJ/SHiiEwLDnsuSARycUA//ZsuB5ApzLfwIcY1JhE05QfkzJmrCYOY0tC6muIR2haOndZ5lUAX7fgILOPqIZvWFQ+pbnrQJKSDcC31XWS15FXIgCUk1yJyGV3bzCtZs0PI0H+rOYZfxolcj1q+l13otp3Rt0gAe1GaP/qVYrT8xO4FhJPwnJriiEVq1L8uJ8hWNenKz19zedRORLJzsex7CUNLJqDUyDS2ayqQj3NAuLwZg387pp1fPSCGwEAJFeUBiol4UCDLQkDAfJp1cUhuhYim684j+bWy9b2RxzonGQEMRY9tQj7Klg90UcBS4bcMRM0VexITY+v8R46SQdXxckDbdBJBNfMMG38077nMxGv3WU9KoZiNOaUHvgFGvkBUhn4OHz55x9jMgxVCbSwivzO2dzIH9pXpIJkaVzYEszn8a/SzEt4+a+T66VYIdNrodwk1i5bNPQ8rry6atYxtfafCVfBRXpYm7aKfPbJV86IcDD6+3A+bDuFBwWgEgFN3pMv7D9ShxdhuHaN8PzjgLEBT16u+rqO0xt01ANaRNOPZv4kHa6AjPat5c5XPcuGI5rra+wyMEVyCcnE00BACMn5aOZqjcQu61cNU+qL09UHLRAwNTrxi0uLxCuc+53o9HAACd164X1BuCPlku4H2vuFn5Ryiw5zyxWgw1qWNe+PPPJhU6Gt3GQWa5ESzPf95VT7YicRo0ZBp4cpzr9/qhr5mjpt2SpDiwFpqnZ25UyLdPhHwu9nwwEYRYMvN7KA5GZdFzOzffVRNZM3p9onJ6KHPArVKDAIwF4II4ezcqcfez+jzaB1DATddecmSF+O8lG/uQsFjakZcsIepqCZuTNmFW2pNBDletNF7RrOIDN8Kh1b6IB+O5m50hbtuVpDZZ7oUfmET3VRejlNx48uJMptqt30PcX1Qa4JMS7B3NVQeezwm2LnVWrjGzcLFhtGzj9g0/uNBXbSklGHFP6viL2ps3M6OBP8j7S+liPz3lTAHvUsy1Ni9OWuRSuZ+f1QineMx1z2B4xpNYkq73jrKQIkIDOL+Ll05gTmdEicAjI2zlW2crC1S8Xplev2+HjEcHeiDXktYAEAqIW9wK1PnFN4/JLhCrcsWbpTbOUXOJQCBlgiKm4qOdxUPUhKh9WC6ve/ualW95TkS1A4yWjYX1MuIUPHcqXViZLgcZnoa9p2dQvR1P2LgvAI3V5VRKtyybqmRVRKuLUdUYdB2YglmHeJfF7Zo42JEcAWu22CCkMFws7sZz8d3f7dkJb2XZp+kzNHGEnjn/tto1RkB3691uccd0lnWlEgjKygAbkF/VkkIuudcLpBqy7WRdQK5lnjOHQj9uNnZExOUYuZ2JosSqIrDLmdIpSCM1Jhm1ZeDb7/G32X5aLQJyW+7VMzEmgfE3Yh59xZPG352j17kDgFbwnbtMUiv8+LK+FKD11r0+qyuBrVrBDE/jYRM/sRUOnX2rKv3JGl+pcOSQsC56KxGcW2kkgnep27UPa4GNxOSjGy4mdyoUknbvGwgyUzD9bWp1hhVnr3CJGhqeBYDpKvlSbLDTeATb7orDRyNORUnGwMx5vtltWfp5Z6wMqA8SZ5whhUIVYKnurh3igjLr9BuVnDZzlE779Z4wkjD+z82c6Vi8hXLDu4aZ9kyEYN1nHIYS9opE/1f79EeOisbFH2XonVVyDaGlboBC1EGKjr5m7iOBbljPNoRI+Ryl26C7UwZDCt2BpCHC+XPcIHA9bjtwD6BiVOIv4kh47ld3N6U4aQeUi2owGRwnMcg7rZPCyrHsWI6vfMnu8BqDmvJ6hosiB90IRU9xEiXC+NpXr1hIuM7lVN8Zk3o5/Ey6K8qf2YzVJfOhhspKXgN2gUEGNX+h5wdEMjJ/dNKKajKHPCKnXFLpTCTb0w9whpkyjHAlhnJIiQUwHnmzCNqOzKb+Xgx+4epzQFuiZ3SXmi/pndZV5SRkrNPx1fyR9pVcIYJ4FUndnFKSvPA8vTcwO2Upv5s44vfw6Szjm7JM/B3hTsKr+l0pOtJ6fBvLXAzllhPWqZvP1+tyKkovYdspv5C4vxi6Gf3MHWvZ5tFAlGBYbx47xtKfzgOTmQB6YUGltXwHCJLg3peXIu0I9AVepIRc82Ja7m4d2BS19+80N0en0z8LWardr9TP9jxTNEYzXDdrJmV+MnwLMyUmelngiIPOgtsHMiBFuRAMDlsrYfJIOQf4gx6Gi0Jvx7VBGiUou64u5Ed5rAdUE7x/5UUTJJnqueHsTwmWBnfv+J6q6MuZL0pEej3zU+KIBFcRs9WfKXAPYYuY+6RZmRbG+Rn0+IPCBDpfe8GsUgBkP7RZaWGhqT6OXxe56/znLWlqh24PPDSvv/F53Te/adrU4sr880TTG4pYcNLcpF4a2XIyl33ljGSrjDimBzzhRkHPTDGrcDSjuKzP+RnMxdM1CzMjZzHl1gQZlvkuqk4hIOe7Cg2whjemRHYJPfhh83yHvhEFVrcOMdqcym/LhyjqTubE5ok+FM9qxMnrNFVZxckIXnoFkxYsbsShjERINJ6a8TeQ5ew4pxCpKsmsDuETWlGRJ4Kpeott6VF8+HKFESEnOARwOq0w2h7gIwhvlLDsSHPzjfYqXDjH47IjPv90EUJB6vu0DNMNxQHJSUgDrJZ/lSOsFOpJOxazIBAyQjt8U0WwG1fREoAebIfjyeAil3i3O3TGLCIOUcRzge+w98Pgz8UWAGIOLSNwyd51ApxvG+p6bwuHkIXntcNMDz7ljFOx1Lt7g7O825tif6C9DzU0C6hvP57H/JjvGl1esT8jS1GMamv+f7kE/XEcGX9cL2EymKsAT0YC5MjAz5amYOZEtoyfz5kqhMpn5eTqwprxCxkhUDT818Hx388hAxTiSUlK2UjVbucng0XrW6nM/ZrXosPhTgnORvegUcnHRE/2nkIy9wzUhHSqdqGSvYAjBPv1lHELezuz1GYlge2TXCxYos3/2FYoz1kkYP7lLp65R/n4/JK0zB8f2VyK3lInp2azne2TT+et1BVWnVpqGPfXwrlfa9O81K1yUlLYv/hat59DFAmSikslXikFAHf4Tz6wiTPl62G/Fx20lrkCUXDKo78jmU45e/Y2wS37z8XytI6vGrjhOOVYOsq6P/PVoR0bR40kmeFYeTC5Pna17KggekTZYy1Lrbi97q0as/L2NMJE2y4hlSPXherOwf14XE3obyz/7gkq90P2k9IWmpvgGZqqJvjuKO68twmkugVSlhw/Ep+X+BGp4luXkrjR/qSbeaPh73twAP7KNM9GfLSTIewllnZd4Q2VafDTTujXDqKD+ynBR6uFPZuEixlYxtyPsZkVyxV6hENnGd37hfxcw7XKsUEpZi5sv4PbecprOcdhDj3jq3wddRDVpH4nNB3S8o0kYaN2+F4aO4mewFjkA6sykU9e3feSlOWsRqNeggX71cPHSt90VcsA5sIgQbKtv+qD+mN14jqOKXjPzFc1eYzjaY1Wi8I14r2vzrb8hFHgvD2rAxJ+7VLAueNn4UmnVBiprQjrn5PzhdfdpS8vOwUV9PKL7ZgUt3bjyfWRQIjlHT9bFL+KO+2tksKwI1MkHMcE7Wm2stBHgn/3VArmTopjfh4PbhtS/crWjSmy4KdkAqsYnbOuacj24ZDFHwlfvOrz9kjUbF3GMGK7rt/Akp/MI4H7u1lDnMRNvvXotGMxbc9Z9upBgPvuu7guiLnGl1PK42Ul3ONY9mSWuPdp1cgNq8vKYaWeQGBeM+njuD2IV05wPVJeYnHTeybh9p5OzE7Tsyap3uYNj7XZ2+dtHvxsPB54/FVkhNz4o857oYDnkw+uupyYwIZrvLvGe58DtLvxFYKVx1l9wVQw3y7RQhs9EbDyk1Yj4Tr2dcmQAYs25psjocue1liGgjMgp66zB9DL2H1q9pLMYFK5rotKLML0a1Y8lchHnXr2i6LMmtqZcRCBLZukw4wuae9PG6MFH+QbcuCTJshmuM5TJTmBovqPzC+P1VryqCMmbYjiIDTNaiIlRL+MxOZUmfY+7RQi4enS9UhUBqjW1n84wN6DfrKD9JuHc3JbfMRXf7IxO4iKN0XVMtgAyQfQ19fmsr4Rus2HL9Gh4i2ElIMy04Acg0/G/RG+WP5BgBHUR/Vd8uLFNc4ceC4VjEsvXrWiCkV181xuCV79T91ssIZ6XDqccl20i85tDu+tSr6yQ1xE/r7WigerKlJycZ5txRTmzkC/ChLAgeHhKQHnG7A3vwiOh2VSJvtKXVs4ZGaTatbao6e/WuadaSrsrIu9WWfX9lAFSwHraoUtf/V0/z9IK/lfe3OVCKhfkNV1HNO1FTJTwoMUNGR1nzfxms6koOjFJTBuXSWWtP3AqVsNWlx3MBL09dV/gLdLPMhMtGCHzwBys5Xe/jbDsZ4DfgDgZbiqeUmSfDnmsW1vnq4Kwg13WeNTFfz29TARnq/ebYRjGxh5rkoQvZCfPXj9NznJTVKZa9mg4if9UhXplz7lQCcpGPzZZNnNfubhcVK47U5oQGgJmjOTe0RZcuLx4n8VLlbcbxLJQAFseXj3i9I9OAhE51oDhnOfuHgGFrdzbSUIJxx7FjmPWVirLuFt4Ry6f0aix+RO5W0WyxNrPs4V/35Do07i7R2RwyP9z6iu4226tZzvsAUfPLwWHQ5qe33F1fjHTdwL6r4BLEqoEncpoMSX3Mj2RlEpGT/BM09LlZA19H8k74LbxoT1OaIt38ggCJn9ONAY6FIJ5CA4OqxctnbHGv/NWQ8j+6+btoF1uM2Cx/LXJnGq0Cu0xpo7A4ulWWEKC5Qd9FTeW+yIt5gDInfZeXXwDAE0R0oF4PdztVY7mk4u8InPyeAJZob8fO17r8FY27x03p0NWZRuLZWcVbsQJ8fMfJvtR+lgWvPf3sDbXXpdF/KHgIMZTkL6vuxAPypiLdJFoXswOzLJlprwA4H2uv7rm/pbFAK1PstT04OipZ81MInaqkJWSmbU0xFLBo0ljOSt67cP43WYcB8AgJLruurD2Gwb53W3Sz2fLYMqUxhTP/GHKvV87qkWkIOey5BId8ny/tZUGP0DQ4gzaff9JfjaNMJkF7UTEJVfGcCTOYXbA0huRXWh8OEd5FP3+tIbacGDJIpQxMr1sAQXiFsNQywi6eHqNSgdQYTncyjuzsuOsdBf9f+onXdn8Sa9H6xaCy6OIQo8ZxBWLP+MSFJhz2Ux6TfbhieN0N13EyOmndKy/UaB/RpjQ49ji1YB7lrZ7btcWAszAIDHO+7pjTxIJT13k58NsqEV/Co5mRz43+Mj+ZbVIWVQsFW2EU7AWp7NC/7JNuwq3/rFFWKUIhC+9jZWkTFBT0xUgJCvwe9WRti6rRDL+qd3xGagDsGHfa7muIhOIioSepv2rVu1NGywEsHcbVlulqrWA/tohQCBSxUmvrKBl4LY5QIZ24umSQYM1y2nh8nyNCw/EV6dxB9Y22FM8jHtpXTWxjoeBIy/Z1wN3EbsgC2d0uC3qmXdc29o7Ks1waT6u+QcA1ejXn+XfeJ5yjP+gbKSKMXXQqU+qt3BUdi/Jla1llgQjbbzwT/rruk130FUu0ajIwZJwOHAn4VWAb80tX1b1fFGhrH8oFagsieklU4kfb+Jh8bGTSl6ave7z4O9C03TcqI2PfU28RKKyOaD3tML+3kjpGrcZWUdDOVSRNTn6Ou1wDcZScpJjaFnBjtSQx5VpuZU7zddSjDSkSLQwAU3PRAitEuwpdXsrKjSbpKXek4/upq0Q25ORRWIxGF1doO04tG7suQitjAiG/QkFbliAyvHACYxCG6S0yGxL6MqfL9QkmlZyJybh/DyLXZrWcN98V18LWz2kS3yJGl6qhtaugT+sewTVdQ0SVTZsQPrUuW3MISOIpWrmH6pgAzotXzk6ty8ibJ3UHjUednXtqVF8h7pJiF5/5G2cd5kUkHRnFT/aEyODtdq5g/DjxbbfZ95QNzkjuWWlUDqQu7Jud/eDsJopWb+fBkXYrWG+LrH0TcpEtRuqMH2UYAteoeWVF6YkcZ8NvcN7muINCRjlG+Lp1LVuIMhEHO0GXnaXrqsI55rIR0D+9fBvZ5ZZBikOcRReWs9AKr+SRrhdnj8JmmoFZmN76ZvREzPRRXm3ToD3yBdqn2rm5W7nQzwHJTdz7hxQcCddJiX3q/+bkJqXdFDxET/FEAzP0g0xZsAxMpnbBkfPdyCKyXkl8axcf9Vu9zIZH7iTUZBDF3FAkKOkz853i1KxskMa5vfiIy5FlgjIaujqKwMilveHxGBucJ9xyb26/kPbftPzStfTsyn9yD+B0FoB4eNK6Fu8Y+8p43tthKBFS8ouoiMrsfjsdYFwoo8uM1bOsDgXhfIjci0rqR7IOIwRg41L+8YqkAEgZvZps+vC80Z7ejhCXqwq9GAdwmErLNRaP7BXzS3chP8Txo+/wQmOmoZUyqAmCYA64abMBorhM/AnOtLjKU6yV0eNv++wbSgGgiyTgctI6oB2ff7fRhxJ3xALus38OgifylziXrC1oveVfCf1fPwZe7ELaWEmEGSZHyQ1lWIQjbfUtYjuN+JfiHv+0z+7YCvMbtjaX2ki96oov+LLHk/bQYEVl1JokxGSMy0XERwiBt8od5pfnFxl2d9LL6c3/1BXqaChF7BRAFWcU96jICITTp0LoansWac20Re0zHtFgxeWLl9ky8E16QVYqeHFxbV/FXdvmIM0X2FEQhgrEbj0RyLiuKByzFniY2RgvPmSksEWq7N9vJzAKfRhknC+vqZGOeWbJm+o1jV7/8jHI2jKh4L09pB9Vkwf1s92DiwnmnhXZON+cshKFDRU4ajyCH3/8tLJkrNIJeYatGuv9i0hY78bfgeNxIhUgRmMluefWLU/Ef7XKPp5Q+p6ariGg9xB568uT9bJpkh7Fb0t+MEsQ7VI81a0gU08Yx2ngbkH/whT5Wb0FBE5C1G4eaWVvLn224phaWwYkOLT2QE6EIEnCHL/y3myrtBNeUMxkGnmygMZykIqY319rlqx3bHCfKArMuo/uqOxUfXmLqrNS+rvPq7tkTtxj5ZgeEWEm+55Ru25r8nmkJ6kMVM+RrDD2MwUHuxZVQhz93FkTmPcjE4UnfO/v/wvRqEacQKRHavSL5rRMKtgK+wmccE7qvHh2iNQUkauKJVl/tSEU0ExFaGXUEE4kj5gnMC4/5ZP661HnH4Ga0MTvRirdB8GxaW5yBCyCLrMqco9UrZPsv7cruoQDEBHM/hrgpXtCgbUBXcIxN4jYA7008MPQY8cix83HUpYqRq6PmoIDE3vo2vOU8jjiE9uB1ynrwVdhJv3ZmrzAwQ7F7mCLpcbTcOUuLpwkYHUGXa+PTHFAZr/6SlfcsESRqS6hTWOK8gj0o5dxYVOcX6NyzhrUR+2+Nv/pEVGwiZ9aWn6QMiReRuYNGnPigm1lzqk7gZ5SmAKd3NN6y0E6epC9EK7CJZlMmk+Ni17TXGF9iH05Gq1yji6RZQLgW0rxJY3LmCQPoCkesNwoCwebN+c4wfBc8IBDHEQAT2vDQVLXoKFhLeFHUnjc7HVUU/p9HV5thWHdRdU1IhT3ehzM8ES78dgmJM19fwrz3IEL9QJSvWY7p/qjGmsBZLni+egFZ5dUeaMkuZpkcMXPXmvJOxgLngttV6OUwd75Bf24+lzudZAkym5CKHIkTkIM59L66ezi00jWrcJcoftfjnQRVbkn6wzK0Y4RQD8zG4IOkWYY+F2uYAANg65vTzPITnwWCmZ4Et7shp0crum2vz9lq/45U8GFoCTQQG2NP/WH2Vg41jAG6rVcqJdGu6/Ce0qGuNU14mWyJUu460+Ttd9LYNuiJ9ryIf1kr1qjwX9BruCcFLxQ0XdNtEPVIOIqALKCZyC4jrtGGpdFhrAI+dxb1dePYWOPWgYCA2JpAA5Ijv2kaj+B3/MEpPWe9zkIv7kTy4RHORCnkghzkQOv5DuM0FZkTz1e5mDPeZd2eECrkphPPWaNw6ci9vU9iEWEY+Nuj19/cNqZWapc07J0O2Eo2t0tUm9U9mSsqk1ILxRAXoXflmsjg67116jKUuF9+8F4g5fhop+fk66fvhilVfqNV9swSICwiVMV5U2zfDdyPlwa1JS3Mp26fd0A2u4KNiP43/nE/zCUfifJpOnY6iL4xnjf9OkRritafkVO2rUQke9+Ov0R+5IBPx+3oUP/NgMkx8eKY1CUKeOLIbinny+jNyaQo1KHv/ydwVXWsvIzE+waSoWXoyBOT/Ppwf/yOPyn292xxcdZs8VSX5icBIkm1Sct1V3pYGh0n0fMbWtCuNOIcu9fx4nYak7AAEtJDdH078YiVAgVLWaIv2wbw/XK18JHNOnDzJIsOstS0ftHKssRDpJIWbzOSg5ylszNVBDm60FbAfI61GepPbhQWc6aa/Kb5gr0VrEQrbNde1ClWqugNfgquHsNW0H7Xx0fEFVsfI7ePB9ZbHvozgGXzfOyoTj4hHySH1nShkJ6rCv57TrPo2r2B3vjCOyq83TTFLM051F7+Hiw2Vfz5g9NEccWLwFIE0x8YjO9zPNDORc81YlCmn7h9zz80mnMPBuFwO2/hOI7TFcKqWZxRpYvYZf+HARTTaqDC+gd8e+gHEG9T3kbxmh+zJZyWG7zAA8xu4tU+Mj2D4rxhv/bDWUKHsEd3Mq36ZZL83on091hxkSdkU49sojO1kX7FhACqBf1jiCVdPUecsNrHWy+bgLuw4nauq51npIfGJROhovQCWlvZW8WzVtIK3+W6aPvpzOcrSqmOzeT2sVnP1o8MNvUBSzde2cN8tqQusqUIiqiPfSInLx7td1cXbCekcEwFv+Psr1CearK11+tJIJZlCZK9029KxW13SVLkhi+roA6w3I9g53Y4NHko5xCP5GL/DwirxswAaOofP2MwOReC5fGNpJvUl1jVSaq2TJzfwVmEOw5KWCB71CQ9nqoIGQWuHMxdq79wC2AW45xb3wwApfYVNOPIzhzKuGPysgWAqWYCbuMba26bNQNwSvFHIqIDAjMoP2aCMlqfCsXqDR7ChCbYR83IiJqHn6pReDzoDdf/mQ9nsPSJYrT5APCSiOAT4fdefn1HyseVfb8XOe06cTIoa6lT0CCYJ/IQBWPRu/Re8JiDSeuk9tVf0rxfbwUh7uHZq11Vrart+2qlvCAoV82/s4FcYtApSwvgWr3eMEY9ZW+tGXd1wJ3sDv75jvSIijfc92g/8VS3azY7sI+p0LT9tj4/uUPDLrXScBi4SPCoB4/3KL8pRRk15c1cKJ7GWFzXOOipJxOcLDoZtHUix5Q0Ltu9uOJgvIFBzfnKskOklIyOFBpNc6i6xmCuMRYrVydDf07+ffGqO1c1wtOOs0NY9A4HIYI8WivWaT83ItLEJL/WuHubdZk8qVJ8feOP2XDojEjST7OzzcBG55wn6AM8Fyrcha5FgbgfDyL728gtQYkQGdHoDsebNQsbzLwlKhFuFWIJJx1E66eCNBQn8c4Su8/Fzx8GsRMa3BYKWmye+546aYP3ZE9G6axMHSlsnKRyFsBS53x1dsvn3wM2zutB2RoqMNqM9bz84A/zDv9Qn1NTsaiAmLAX8SLc/RjeY01W2EuJR99Sb145ScsbttyX+tf/M/FD6DfwNzZymYX2lz7xZ/2RRCAWJGOlLGfFQC3hmnS3eErmm65GXbKgKeMLDFHBia5gE3/55RldRG+oA4s+7weOfDLsc5K5wtOzTNF3SZS2xT/+kMkX4eYtY3ijFaBLFPj5fN5fzDjJ/+bqQP6RWsZf64QsK5Rp/G3OE8RsNbbWlTVMnlzytE/KYUgxwBZXuG7dZa/NO2aU5PX317yB4SIwHg6kQBsb4pNZaWTQKV8BqBp4zHaracEuqum8lwz5tLXJw+3w6O7xXKGcRl4uwBMxyy8qy77z8ET2hDoRy+vjZAEeGdh5W7w4yaDTGHr4K/i8BlIxXjAfPvjfAFOG+vUeSmr0vUrsy4JPoy1Vq28V25h8V5zrkFxAt8V8Ju5zodU61hSaRiWDUu2zL0CydSdt/V6vqG6F5+pWwvqJ4M7JSXyhmlA704wZK7OgML8gxGVyTbBRsGEFkEXJ0piFQorFtGDoJTRPZWWMiPGw4aYpT0m6jWZbo/0j9OXwvIdLrm6u++YdCP8hst/MVHKN/0SHfIVfOHIcwhls4ONBTypBUOx592Rv3VF26wQ5/FDJWdLgV/JyjCDRmnGQQl01+NLcOjJ9bl/8UIUBTCC/mF60bw1Wrm3dr80CB2Q9P8Yn7Tlj9jhe+io3LL4pvisFVk/4gaYY0aVPunwCItAQ7PxnfPzbkVQg9N42uIV8YlvmLzpJqNpPuh/J8Ysmf7qywH+3MXNOKoMpr7Pm/M/yu90zjfQkBZXghvujefEreIylcVsnzEpZ4swOyaN5fPiuZfeURbLzbwqmoqxdRHG0RQI5rjmo7ORm7RY3xBY4cRWV6sxcLd2Pwyob4UgbmZr5ywy1e/ledLlLD8oCcI6FKL/2oQQHYXQqYNq5m2vTU44hoo+7gkjWP0Qc1mg555QNvRIewnSDbTqQ4cOi1EGEEZpuMJCPayLaiHxoAtoxVSMcZRGRmgWFKIwBbBy/tjNGByOiFIddU5dQLJ4fGjwTAM2w6QJbpAGZsg2vvD/PJWyDO9mXAwOsQYwXccZLB27AzanbUJYUy1Xbg8ol5bh3L5laJJRYPNXdoVGHaDGmeCih+9sGTf/Un2q/8aqtWw/H/oYU49ia1BNRPbYDStjKOIsoM4N4btw2kYLvPnAJUUYXkTZ9keDDpm45tzySE2WyQEyTX2q5bfR+/tvqc1xVbrmR/0HldMa0zI8KuH24NeX6U1h3H5na2rGcuAdnz7BqxNWPEh87J+irS9rk+dHYq6aXaRpIbgbS63ptzRSDYX630ofd179v6Zk9FjsM4OHhIqFzYQhA90BL6ID4+ib/ffVF6WJa37+Koy9IXVC7YHTfI27vkWucM5CpLB6zaiN4pvOWH2Y6lpaFAOftTlJKnJ+sraXjY3f5ZbdRPJ2iQO9UxK8E+O4p2bpU5IOGClWebLdXWbJch8Dj2tOMiUTnGvdxxiZNLOSc2bL2g0b+4iTfQbTcJG9F8UB0d/exUBRsO0Kvz9e+MX/zoPlwMLCzK5WvL9UbItioj0HO9kQWL9fUh9ffIk/lxkUCUIZe8EX7aLLxWnPcDepVtS0iyJL1mFeukC7S3vDNEqWWx5HifzB6dt9IBkpmVy9/qXyxmE2drBSeNg6dr5USWrIA+LXjq9M2IIB3sJv3t28T7O9kzRz31zD4e5ziQnfNRSjOWeNN4XSUeaWmAruv2wH4510bni9kiyYLXe2sNyktLC7/Gvv3OUPA9398YMZ92mo/agSQRASV+MDy74lfXRoYclNL6xSmq8tcjxa/Pv8MSAK/vrPS84NPYeJ3j/7B0Ry/UZRJS+MxM/2xgbeaEtAzuvsXiGnP3CXeRJyShOcAetqRklYmrkR9vd8A3aZL4dyoJE70hJ7daKfx41AlKOz3m1xs27YuOYDkhLK7KsRezuE4zmzhK8Rrh7LoxrZbPLGIfcsyC7otBQFMiOXoJnPHMEyRvNGzlvctD818ZUipaEM66xcQP+By5wcIg/UxZyKuggeYg3k+V/DTK80RKIQz6bpYcM/iAS7vI0sk7I4M6y5Lygcai7l1rtpkSdKNcVG5p6Sa19tsJeO71Oks7kCHaTb+sLNvp4WvR9xFCceDYkOIM2g/fhruLeI08EncsZNX8e9MuB+mmeCNSdxFTUxpY0jN5zIwCoU/Gndm2huj1UVz0aBhpP+31TcWMazTsVxxF8Y9WiRnWfdueKvjUOUdUTKcnYz4gmKwdwnpiwmbX5xwhWvyTDneLphJCJQ2LmKQ0p1huS62kv3fvhCVwcDc5SaJ8nzl0MeGsaXWKCF9Wyi6mbQFO70GsUYekzNbd2i88cwtS+pdFwGP165FyLZs4MHEBzEDSk7u11A9Q2HU38/U3qTrNqu4JSOdtXHWBEN9YoeLcvgEqLsz+9p+MZmq5hsjDZmMq2ifzVYXv5DD8CuGRgTcJ4ySIZDCdDEpUUK+dwvYAlz5wkYlZfI8XNCa6BC70SKObVqKvS19u9YKzM21Nz52LAX3wRzY7zNeDCnbj6mxVRx2LEu2tMHARpZl29jF+4NddhfY3hpoO+BliW8dsbcQa0kIwkrN0Jnb4Rvn3Cz1CMgiqTVId3p81quD8TE5gIj9mp7jak6iFzEdGYJMV50DwZW+ZoOTYhOXQYtsvoFCW4eTo2+t00UXfw+CGkS5Sd1cTtYkLpNihxYf+iKANiJ6sMqa9bULyXBjS6EcEhnzxTTMaJVSsoXrtK0k0tx41OCGmA829eJD4hVdgWVnvV5MX9Yd/25U2iAR7v2IIRaOxXz8aqgi42dYncI2j3MCzZ6Eockp+G5MgG5XxzmcMLQc/mC9oiGKGkogYGOILVUp3bVTS73Rvm9YR3exw6Mq96sMbT33/o3fqdAmF/wxkUVrXFiv90yPxfJe4uaRk0GKtgYv90h2q72vdgHuisxnYSvkXF0sPwfsI1jTuiaMn3T09BVYwYxttvxjZas1hGsR6nwmpQSkYFJKqGe70KUgOb+/UB/klR9GGZOzf8NzSneVbXqN8Wi1Y6WhsBSy2qhTThxm5r4MsqA0Y1A9prCZyIo/ZAr5XYBACGQ8X+fwJSaVlS4MUHwfVImdDN/eezkFfJVaNemfHAnJAdYcXPR5TlrbUYH8NsmS0Rt5DDeeKJEcB9AlY9JpOSDB/D6r7JPz/9KpGvLqj4UpxEZuAM0qSSq2UpwNBRkKSEgFAAmDJ2XSS62GUex+BDvVctCHXPJkRR+Kd1alXYcFH9K7nXlQw6ne2fh0HkR9syLoERkmDho/NSC4QGaC0ve0mpjHuWr7i06ktH1o8GpA4jrFs1MJPSsPuQ/14lcUN3WDWtc7gVRTDqdZdlSXjg5RMieW58VEqiJa9p6ToE0JNJ6+ezYXB3Ga6qomxe/lXDUPOZ+MmFdwqoDyLzryztFNdWgkYzWBaB0ZXOlW/ZezOxxpTz6YZV4SUj4Ttm4M1Wi39nT0pGcHWRID54CKuUDDTkHDvoMjAMWvQO8sRZGpQD6xXyUiXMs3FRocinKNuUN9EApMLyLgYLSP8LeFYV5aU0rsD/xLBZnw3iI6rcOF7cLoVy/jR1X26nEeFJB2v1/tkaMdLMfN54SgkOFG7B9lLKOhpjvxQIvXkXYtTgZSAKz1X+ZteD+oj1xGJmYvytTPO7uVo/j5RbqVVfOWPkW1jEvdNS+5lPEvLwIm6BiOpaBn2pVfgcorfElQxp2jO+hR0WA/k/2s5NlUksgVvhg69He8OWK7oA+gIUZERaqCLBZ9gB0f28gay/ITTo//yJosSwWw+vJmW+Gc7LMFCLU1CDiSgjEKfbjSo2tTEIrd6lS15yqxCD7enaBmbQwC2fs89mXQxjVyCMZpX+MQ3J/U1xnRbr8I0b6NKa7DR6McSC8JKClCE1a7P4prjiD3Bp6qieZlbfvdBNoDPAErupuO2FzKNVm65Ln2Npz4/fMDnzaeKGqnmqXI+Cmcyvt1qLhYKM/JIeiAifkRnftpwfasYS+qRvbctVgLM2mhk3BMMF53UvBj45oBc7jmtcAmCZ3vPRkJ+6CnInZBgb6OBAPY4HTY0Ct9uMGQ/XtuU6Xn+PVPM2l5gnASHwhBki+EAFLneC7BqgHMqeebYge30bzr5tarGH7jDjTx8E2lU2cP7l3Li68pT1l5G6+maKfzv2tVlcnDbWLBiGO1eoJmBEjdskcWVNGVEUp89Gu/gtZ99BBXMsDvPrrWV5Cc28ebd2ay0gKt03IMllQgNxof8wq5BBgUuXgTH9G1kNuiTgvty/hQJ4TQH80owsuFuM6KS55BsKcfV1D8UOoq+z4XfmpOUVqAjjwWoytQlh85LMuAu4BCT7cNMlVxEMbi5QzgdId0PZIzaY72VT/C779jyKE8VSI6jd3YFfkkomePKK4kYExKkLVyKMjp6mqz9q0vwzqRrGyg979zLLT5ltlbLfwg5SP0cXb5mBUS63l1MiAmgPsW94qehUXWxHeHy9O7at3T513JnH3VKQM5gFBHMIC6SPohKAPdLs/g0FGMsnHt4zGSphxWetir+GTtQNU0dKUgDBAgQHAizQTfok1FnN3ZC7K/+gl9U+GnzJSvWRnuEq2KZGth4BcoCzjLQbkv4a3QPgEolbBhcSQ8Wdg9IjGwTRUvwdUtfENWnOyMjFlEjq88YaQ/8Nom9wSn9nionup2Nt9/KhtMu7j8gtKE5igU2v+yBIlDoviJmnS4mmR7Bt/MCCs7Ieeq8PNbyrAkvkqreowOkoXaMCxBSSt+g/do91ccD7D6YfZ4zwwwofTWHyLORVoIC2e+HHtf8Wz7UfB2CzvdaitVX7yu6OFcqCSknCdjB7YfLVxDbsHJSeqYqsFA5/FQc03YRaFoPHmMzNNnBNozVtPGwnWMaAUjf7RlQHxbSVm1TLBNNUFNHjRSRl/LoloysPYXbQdsJgotTGWXtZAm/kLgmPAbs26SU+UnadNnUw+ylWjOLzGL9rLeqfEJ7qY+JHFmM3gh4P1VO3Vx3ct2NPeCC7by+HYutUD3nEfcwAlq6mvSAPduMwQvZTp7X0iEEfgMlUpsS0bbB9j5plYBCbBGOJaF5XWmjNKpIa3AbFoU2Auw9rCO5YOaYP4VFd0LUdHyS1ysYOF9IJ36GvcgLmGULx3f0oNdFdj+PutF+qe2yTv+Nu365ZPebHJU84ZepSvo/k/Usn766yf8Gxai/x7t9jYZhiIsa+JWIRhsSj1TEG5VZshr9FFBoiTU3QPv/VKj0EiyMql1IUUUHupUJ6+wAVAG0J8lW+mlW4AiNMVvw06+0bXOl97SPruxMcF+fScXRiFwb0Ghb2Cxm3P2v7E+yzXFH86AGtI+lFwN861bSNHKRrsRQz1S4XKApFElapYZTFTCImSvZvT4H7QFyvCtPqu+l3+S5OAlTyiF6c8kj5nnhAocvFkxYBDGtTjpOcpwfurYRRxJpxCYlW82L4ToAbLBq/mw5N0Qe3e2ZdQ4Xvy94AI2ebbaGeQ7Q9F3lw+RYxOavy8T1tFvILFCXWUAWfU/XBf6a1TwCFMDMStvG9bk/05SeZxrzcUd6mmG+AHkqxgS7kK/IrGr9+bHcF2W1iUBhAoTWIeInApEqexP86YXGdYVrQixOgWLHMpCe9IrXeD9ASTLjW2v/oBptUQlVjQbK3EyAex53X8AJYITpiyrXrLwYpV8JvhgG/exOjS3sj1+W01MzbJh29QQNA8tsZLxa/GPSN1um2BPPDjK1b0fyHxlm4DO5/rAUF9/VpH2Awcp9OMZO0N6MII865vB061UuRbJF+hLt+ot+4/IhizlrNZMpaWNi6j0gL5W/5cjkXdB0fInDaiZvmNjph3PIPPGE+v0XLASImVfhHOPvUrO0wE2UqivE3NWlJSRaTtxopxRS/0O6Fl+x84JmY+BqtgALTmFG5/7IMaNlztjXWNzcVPaDSZKl6cfPgpAAU2Mlj5vZ6UpW4ZnO+ch2aIhkbeagCtodBHdY03R0+ubrWWAPXlRSTL+wl55MCXJ5KuSfpff2rZR3a/1odAkfZ1nkNzIs48onh2wDP711GOPzyuXFICwkWAzdXHk8athAvT9Ok3o1xnKyiOlZMhJgouZw7EpQeXoNAL+XIt8T9raNXVDc+7rEquyjY4/yc8hJcPRhvbCYJnuy1Tr+ajMHXH3BcRiiBM1Dqx41TbXSV31vdEU4les8TlBSKWvGiisX7HPPIueoOZ3f77yvKUTghrnVzpb6WnOyFclHdJVP/26m1l1Kdm+a47gQbzb2CRwNc3kjFumpPVle8yKSvFEMjn9JFWvbm53InIH5tMfT+zmPiWGlyQr5Ndq6Q5+4YwoibI5pH1A/6sV1QuUmMqD8QO7f/dyNcYYEmvLKAd27uTqAluFF1L9eytiZhmyHQONAXQd6gHs3mytch5AVlQLdYWT/psrJNvaCXxl+T+XblwqpN/XY0obZDF6rGGs7TAf+rBQWKkMiGLip66oPXNwd7V1TZhHGkPsqYLykTOrGpMOmr7QZ5sOobHlYLrCCQLBZ2FLV3+8KhQ8uTt4Lc9Kfl4/o6PhRf07QCVmUwrYUNVtUkdEttFUM6n1xtK+eELJwe194QW8rYb95lzsZ9SPZZV/2jWkeWZ4EQrLQlGIyTWRq7X7MgUO1s+1I2sUzJtvnHqN4sm3viZ4n06LWHAIMlXFW9cHDqhSSWpC4HsLwWxiyn7AFoeyZr/6I9cB/oHWPrIqCvMfaoOv4VB8CKuFlbDdz08o+QrnaGgUUiInE3Ng08Odzvwg5mbvZwkOxBjm7c+H4fE+ZgXa4nbXyKFoy9Y7y6Ow1LXwIxz692ok7q4S5KFbD5ClQ2iUgojYM2g8G+v9p6fLboU5GZnKnn0k2zxK5iI+x/AA50EDEA0jOpWFjW+DAWcLmjoKUVMF8E/NuYCXdEewOSeH1iQhIvtsvKGYJbiaz/LTo842WIE01OeTf9Hq/KDI8ulRgxqjO2bo3+3DjOPAVQ07d2K0KUmVniMEW+gJA7OioUUtfDQ8ZrDddBEYZQ5DWIUvxzYhWo+dTtsyU3DuJo3DGNdhFPWlGM1z2ofZFpnEUJ158qlQ+V4frX3S6FAT0EGprElanT8/K9W9z3ndLuROnXOcRkzEWZpp7Gt0g+evbILqTq56riUfCCG/Am0fevdYyvecH0SD02PZRHTrlZPlYPlTdsM1yy01y1cxNNtJvrn6L3drQS/Bdwli6nvqO4AgrvDhKAgurxFrgntBNIzbYf6VNdDN1ynykNqv+zFvPwQy/6PSpO0xPxvtILK7hbzNwyADXDhIFg7J1xlSfV0y9YgwIpcf1QxbUWCSF5Hv+Y3FIw1y0wj8WzSB3GvX4AX2Z7MDzmnXU0ulGwoGm470Hq7rz4FRSra24iqHHOC1iBFs4Ac4Z5JOLUtTs521zOrAprOo4rswzHOpSedapjtNWAbR8fQTWygLXMMUdWC8jpQU242OpCjZKP0LW4pU+Niv7CCdgywMkh/BMB4GU/JSdbkXG94+grD43NQVAYE2C2qQcX07IjKLJEIqoAnf1xltc76QaCnZJMOOZygzrm/Fykxf1CfxsG/Lbln1N0LScDa9WxQ1OJIExtt7Qh+SccpOgCKWhU/S3YQqqdl+SXN01SPzw4a9jePfqgwXQtzPZLnIqDNRJv4TDpYKHt7ccRBrPp7kmDE7PMLhx0o/t8kbsS90+KdY+034roqz+M2xX4hgJifDWDNM7uUFOsJpKLC3DJwbZTrFCxxE0hkySKUYzVq2w0OkQaOkSMA2GNb5izOVbGWXYH8WtrZSwj69em6AV6ZSdIwxoq/ZwD7T2JIP1ch6iL80ZJiyhLCjF2i3cBLgsz/pm6rqj9pIhIC82t3soWPEUizneni8bEDugwWAO5fkBAEm5xyO33aQhBY2C+GWFJN8or2yOCKTmEtsZscHsg10PTfZTiNkTNqksRPCsK015it2Z/PEfywkgjKXuYhJT4p+XW1r8etciV0vIrGrwJ+sR48zCBR8W9YoUjHXSHqA0SPNlzSwkPE7L4XlcQlC46suVwJz7CNA7lJK/+eFekbz55Zn55dnp+otWVKNem/84t0uDK0EgSRE5yXGRvBDaLXl1IMxGLeAMNMLpNHnuS6cjdG3zVarK7+jxYI8weqkZvknIJsmn9t9ZShgur3PhIOwZ1R1TedCEbdbF0OVAvAzledrJAka6vkIbO6AccAOmSDgok7Wrhuk8rMwdf3cR9nbw9Wg0hERTs+5QXqQ+hELYAzGD6/6C73UvWPP9F3pLMdslb6z5yaJDvQJbUUUVUfaZg2sOV0+wQdo/2SW+qbmMNEU9cGvGTVl7Gan+fiTyuTBvhDad7hoHx3BC1PciQXRCloN+sJ3zW8bHqxyJGSruP3TqsW1To2Zq7PdDFViXpVb++D2bsczhrmO9FqThvSo/E05g2okVGdfdMdUXZVFIeOo/ZZfWkJj3P1F/DlTah+TedBY1X50N5s/S4Aol6mDoLQ3xeB0bbemIU0VKVsRE3CD4GJV4ha1/u89wrIQ0gPFoX7Fvzcd07gl6euQ2uL4IpCcOZ7dxDMaQTrGe5S4I+iIa4sDhEnCtBjE9hkt+wHEv7wEr7AmAwlVOpR2vx4QUvESZcnZVjB05qXvEXz4LvvqzNszcCeCsHs8MlJQ953GiTAoSWW4effvXhQulb+6M13G/1Y/7iAsWPGJbIFW+uQEzkR6VcN1CkonHNGNrr5rDfN1Z8Ueq290D3x6LPN3cvxTQgxM/vifrpi98xuumKI8b398OwdPsHo1Mp0fIMOrpA5ZJSvntaKjA/BimbLp8WAVHp2xtD6qOqFcGAVXZ/Ko5/3hWjY4ZeSZkloS2VnWcdxBFJcCxgn2mUFaJLRqtQxhqXSGa3fmdSMnRoJTNdC7+lkWeF4cEc16J0+U39yO/hvWr/BI/xj3r+AqHuPmEI7QG1BnYF/U6l4xyncwgyFWC+RuGCtXRJ4tfsvBgk6DohJnhIgIf5DIVNJTh/CIgqlWdGVGG790UGPzqUbFY4TkPngaASzuwfVmLcspaYhEH4vottTJM5pn+h4RD/3MSXrMWaCeRFppMBjz6QooWektYsN3ueVDYQxXjt8B44EeimkpvLcx3SS2DBBpp2wLFGpbol2buz7RtHMNwyNP7urwVaycfLF4V7nk8EbOI4F+yg4l2B3oQu1PU+0fYRlBg4eLDGPaaPYQFHbtroi/ffsmzOBeby8UVedRxx1LiudZhGMKizBJmOqzCoNCITv6G+3AShoPl473WZHglNF9stRx9di81fUqaw7fu2mJPLNYjq4JY6noQxUOYP/8bUY4JYJeb+bu9X4mnRhjC+bVF9ujd3V4shkQcuWQdkGJpzapN0IWmIFJiZf7SlZpXFbFd/FApP+qPSWkBYSYuTp/eC/2Jf0wRj/S4Z1TSEac12ctlLllRbAbQl/6ilr/aX8YLuOQO1/01fm9FluKiJXb2RVeYzVl+T2PxGvCc3aRmRFIg9XVSeRCeOj/VW8unJ/1bhAE1m0lfNStvPgr2CapDdQjwvFP93276PITClz+bQfHVcRn1cw0Fwg1DT0ySDhJQ32g6uHbDe3vNQ+Ne1mKZVd0ZDMpnALfKRFOZUyaA+O1wiMy6IwUyylo5Kh+rDEwZ+sVTYg0AqIrWG6JftZtZKJsqefZiVTvpRv8VbvIKam79lVydjgw2AEs7B6NAdlFC3MmBa4H/b8Nwj/AGM7UZAFfVSh5W4BJhIkZjU/IG+QH/zLGJWWXgc6dF1lNzCuRqSTZUcObdgLGtDgxPLcnuHFY6HwOv0s4R6z41dhQ0c/wt31QdCUHPXGtWD53MqqRo60O0afaHrz55DT3EuAzvtNxbWpGAjIiMhPG2f2aLlVK6NJii94aePMfuIK2OBKJ8yQS370yWPbAFQfSzJ5sjnZZE8Zf9Z8QsCOqE3ytzmIORnWHoqw1teBKJFz5kqrbd5lmsOc0M1vAY3gahMhakEU2Vw2PyDJ4SLzZpAPpt2Cz+Fjk5roz1GemfIt1aiDWOaQmd0OhsLOS1dkzVrSySr4N2IaKFn7OUF4x89XUeIckmKrqR4YOqh18XE+5LCwgxaCF33eMkeYdAfkFXEUmpdMLgoLLgHZqqZPbORrtQaM04rRypWxIOxQnDtz90QKuZAFaNZq0USQtr6QCy1kuYoeEdfJ9TCnadWtFqdk2xeq/2OicawrjsQyIdY0HZVdT6e2vv11wjea8laHxfzNXBZBHDR2QcOSj6VCrM+hrbNE153xe+DDZ0xuUIPGfY1iqaKGyN+HKndZClSWqONwZJCVcUq9s/S/1yAJ+36Rxt8vR7tvNnnfH3DNBUIDmUFhvRnnguVhSsLBesLR1AATgC6UgP5GvLs3cvSy3r9FNSBIPZfWiFu6i8HUrquCcWtcSm7kroW1FY15eRYVGyUpjw4+Nn/USLCkLrz9DBy6clz6wwkCJEpmO/LlVZwRH0OPGjXJSdLEE8do6g79KvN7M5LQzTEUz+sTmlJ2EbiyOXMyhdB4hy/8lC3w/w6mvttWFuUPNwphpqmU8Vcu6Mlebfcx6uv0zbwxc0OjKst7JLx5WetVy0JKlYkm/Oq8RMXTd/6DoaSc2o9mWbmhLDPNmtix2wlNy8yGEDXtPZvllnQKddG+srcttBQI3GMgR2JDnuelCrliYuSrZpuky2Zbv+gNM6fetGMcKBtm9O3sAKQ0nGTsrvpP182psXDN284Akb8rG78yp+zkhpNUd9HQXaRvjtYGJUFnUHi+5T1of710arHQMzGTu2lxUYTANgrHy2sfCD9bN4DFEBJEpLyhVsuv/Cae5EhmGsgStKODRGDCTtoCFzEWGx+JaKxuLenOYGm8pueoibwIq80+66ToBpJEVAR84PwSHCaG6ARTvmkzZNUBmqkEvnSmjTbz+x0M2tOGUdjJKKrnMCWMUjeRL5hUMYYj5zm2JBCzo8ksO7zAAGp6l3B2iK7lbqEynkksppT8qisrigqFMGJI1EfFSsz/eu0QHAYw/H+VgmxcvXAUlw3UdNM+cM0Bj4y16z1fQkmv2hU8PGBfhRz1IxL0Oyf9BLWOyuJxocDrdaLG7Gjg7C1/k2I6A692AtZvtPSvWjqw8IcNIlib59weEm4069DajASYzM/TUzeF0HONWWCi4qOCSWDQTf7kguXC3EbfPA8zsKMS55QhqBlA6X+11dIjucAwfR74sjjK8jAYXiBIKpamLM1RZB9KZDEVfEP9NrzGXc6g8QOqaXzplxJH1Aa544cUGPIE3osF1pJEDHS0AgpXR6Klin/94fX5shVpareWMJ2a4Sg55RrLRx8jdYv6C+I4Ylao2lLRjrIjymE9Fi7HMa/QhQclJuCIY089LOe2LK802lla5702TIMJVK9J9t+ecN6Cp/qHiXxt0ss6+t+2VTAyysT9z0FM0FaUf0savvhSNQ+kI0XSNIo0+Y21a/8iW5EGa1eIqaWiFK3L6SuMgaRTEwa9FfPj6L3rx2eepAKiNydI9Abtj3RzPMdNWvB+hQZJRb4D7K2vRU+B+3ppyH+PPnossD68zsDnJgOUULLpEokZNbhobRO9uYXTSXwVogu2xnlFXqthXc5X75N5+IeSF2+CwGrDzemFChc6dL0oycTrCTsYOsAp0k7UvbvKMeb13AJHymi/JslDqyvARgJ4TSVs8Fl+QfjwgMhhUQbs0l8PFfuVL+u6uvp/u9sCBgMljWy8MhKcawkLhNrI57EV55ryYwJa+MiYOyAJnfCyFmL1rkiv+N1wFMK3BTL93HuEVKrmc/nHU3kOJZ2ieZRG0GYtGUEmU1RazR3W5UL4EariN0wV7S/OFka5VWK7rssO1762I6mwDAvaHcqozMq+yCNnfu3pYCSJ0ODiJMjeQbRM8W5y22OFXzd+66S6A2aY9iL+0kYSoVsWSea4Z2P1lcXiuDazjWWVmfaNUJ3ULsTyt/DKbyeBOJiVhhpfhgzZqbw2cUcDhdpYj/+D+7ZdKJ4G4iExJNMKYV4NKnyYnmJFKwu5twYiLTbOHNKY/13styLqgjtRkqFVjLx5EISomFUEoabAkorTGeTyATzOeZ1bTv5FcsxuYJNPkKiwX3GVojm9rVvrPIQJcz4IhUNyXfo2EI2vTcV9I5afWzc/eOA59uyunhUeYRPx+boTNSWso/QNVEhqB4YtailnyXjmVpCBUzkf82Leb2mRz69ESp11xLVH7UVmY0Y0dhiTtulIoNMtH8IHsTD5BPmGInIyWtJhoiVuY6xMbMHqyisiIYwzMupZK5DfQCPePxeANFB2qhZDVhR29hlTLsKkqmxmHDu6RHu+TaeRHzwFve7o4WXgiQZ5SyD2nHNsIRac4ORwPDd8+awZX0i7ohUnQAlLe/a4XAew5SNqu6hjNKXyrzvaJ/4aJRhemhzOdZkW4O5PcNbaDflXwtijbs2mqz4rD/re97R6TIZL47dB+BPGphjcVtGs075zyElwpuzzuZ66NYxlmziBcK6E0lDJGfB5ps6CupAtsyu4fCz8PRLOBhD6mjetxHPTYcpomBgSe9sF2uzdeHTdB8HoNDu9COcjH8ZiLHMjlE20QMNBuJ1r2GZPFaywF2chsKEpbdCbHEX1X/lqxXTtLDRqMbptGYI9yB3NOAmuGoqhGppHreuknbDgE+3APojyKmQbtUpbOvTXdKhdRukcyVEHGX5U6VrzLdAPn7eeCEJXRTDeePptEHUD0/nWT9osZzTSJs62gOM+X+4e8YRRyAZfUHORuQhRNcNIKEh/Sw/bzcB1Bx4w2N4x4eWEDpD8hr8g0t5RqWZwtWdJXU7qg13B91juTKYU7szJQw79c+nQFsf+kB7SlaMowiQiCNaOGIHUILCeCP85EaZFhR+PvBIx+qinx5RRPyQIU/QxGSAJDPLkDiGWfB4IEiMpZslyr3EuRAhPF6zh5N2u6SNDte++UwJbzlus4e7gsvjvEjLuDky5pYAuEHgEBmIYiBuQiEGtfxcHVpZBx6aVT8LghG9ybTmgpJZ2smEZg7DmZyYg77A7dapUZ1uUIpvuq8S4E/SerSRDOfOuLjL0pzt2USNhq6wYdxllml8QSyRSZ4cwFgE4Tyukjh/HTpdMcrBtEtO/51rc7DwFoJPvmGSZZBXJMXKB+bGV/OYRNbiAiJHrDtR2INdGkNQa+jbi7kXewc2YL0ZrjPKDPm4r5DKEj6uDEQJmKvjbH5rvDpL6VV+rq1zp9LcUNwqq6yJtQX6Tc5T8Gcm649jHysy16+8+v0uStLwZuoi2UgmboJXlsapZdd2NSUhCMmBbYjHSsu3jRAIKKut+HmWkBbZ27VQmRBDkvurRqWjZCI7MZPht8hYCSP1pfGFamgkPfjGEQcdHfs88q1LO/h9sIY3GGEI9qTENqqE5DDdE9M4r5Rmoco7bPM38nQMOG4n+A79wFgzWzoGf8bf81lxPiPGAjGi68Z5v2YTPRg0nulWFSH08dYdnINKgwCZQTkxgCXkOXOlwjnwSdOAL71tFUAXaee5BKsL/KeFFEWsavwmsXT8S5cCluEw4QpNMkoV2iXFKFCNs7SMayi3YVCcohI3Vef42rh6VxxgN+8QokobBl3waMnQlKYl0pyK8xg8FhhQqG2LZ4ottOUq+E43T1PQeV8BimYz8/mh+9VIz1J/2Ozeg20Yfkk4o4FM6jnRqW3Ii3e3UPwSQNFFLjPe7z26HZHWrDxcNv1wHjEOkwzbPJpHjWeijWYHzv4kvsd0NTS2+AEsdTmQFcEsG/NxRsi3kMC2Wc4CCxJhK3AWbooTupe5UZe+j7IrpfTDVx9iaHEj6/CtlD62Nf5ZRgYWLcE5SKYYU/tXvQDUxuX7oTQ5ECowLE9Kk5vc0owEq07B8Racd3cGxv9jdNwUgC8zo5HguKz/gHlVShv0Y7OHNIFRmTR6U9CCwWzmXCyOzQcWTHOMBblLkEkxeZqm4ZyXDBUnr2DriYbxJr2sPYEpgaDCAdv50QRTeW9xoUfof3ERA1j3Ilp5dmYfReZ8+h7mXYt7L0G2VQQj6AlfeBuK7SATeAcrMexrwWVzdSVYDez7RdCMuGNOErskTfkoUvBQzyRccpKQVyrgMPE1cgLWL4CisnprgTRglJ+dO3074LDcWM7EAMeQITHfC23X4DVZQaDnHGfygJciImG7XbMz0BivSsInzTk1OoeHYlVStVOkneBNVltoMjXbfVHjLmYd5oUSbz/nGhx55+LYo0quI/YNNLUs73Yn5fIayqj4FCKr9t/A1g99n7X/1jPpyRHPsWMP0EXqaEiZmV5ccaudzrCFovvA37N2ahUyR0jHY1kIf3QJWDEEw/G4Z7ACQS8NOv6StOOlPJiLePVdqRriLuC924fbSgrBnIPZdhPm+/QAzqHQenKb5WT2FMoSF2F3UkNl6mEzUIRISU+g6wKVmIuvornhtKHZAHa+37Y66j++z5jnsxeKRxTJBTthdg92dMTr0rrVq/TzZ1pA0ZG+On7m+43wrZxZfw4xiqM/mOGaXhfbIIpmngnm3EbfAJhdTsboujB3H8uYi6rZKKF+jlbSREyAexeMGPRnJdNQ+hA0yEiz6lhYJkG5s4yVwxcSkZiBHQxxFNeMSJ0z7vF6j5kjl4atlvL6TPlPc2wMy+DyiFJEZTNq/k7xOMhliUUwy17k8nDrw4A29fJKgcUYL3fUM4akIXaljKIVjRX5mlTbxBLjDqkNo+TfsUcq1z7Wy641VqwREKAAGk0nIwL8LoerRd0OwjxCXPl+DCZVsvIQ5rZDU0Hle1mo+3K9NnINNsjy4RpvdRdq5BOlB6xLr7lbNsVLJ6vnld44R0AoQD883j8WXS5Cq+rkQMPIfN03wIMNwWUPS8VtXA0SaJy5Puv1MCd4H9egOuikDAwsnICJFT3Vh8UElI7C8ZMW+c2f/E0k9ffc1rOMVoefFiJy+ghuk7cTarVbnasef920t0ghd9MLVQ6qeVCd67u7xwfe9O9DN1nQk/khLtTXp6uKsZZ+WYa54wXj8vYFncaO/1lqr0c4bKb8w6y04HZK13ftEmm/GHroRigcXzsCB8fzh9gc4GmU/MHL6525VpyomSSlVtoH4R2dgYxgOnt30EAzmGpPCPPArD7JkjFOb+v/mlQxRpB5Oh99vYecAV+SCHxOA1wi0I1OhttNAgFO9wkOI4F5LPoCTBG2pMWUk66lPNhgHiFO+aWea/G4tntKv4CemJTKQFNwpLh3VnTGuLfipq16nffxJxgqeQGuPcZlC3xlQ7jWmvCJhV1vHzncUCmkEEL2uBg/y0FJ8s+N6x7OaLu0sWftjtfRoE1Cx+jzxa9zVEOp4c0TzwZQ7UIaT1VM+qFAZSTd59cRxYmOXGGKScotHppCBg01h1U3wUHH7SG0Rwi1ESQSgh/QZ0ET7Q7olyEnl+lNtqoXjUTfvV7K2GBaBGtEnf6fW0ekQVUI5IWta4rYRvLGG9Bb4bbCMfteLNwZpxpx+NmgfGa+JXi8IQrg0fh/KD3QcZJdtlWjTm1sznPG7Pl4oqBGFikv6l8+qv9iyYMI894ZMAKyoxOhjUEBCJXYFtd6Pq3FI/nm0oby/CjSZE7Pa2AYpSjNMQW7TSt0taUT63DPJo4edd1lTaIRTomylR9Ax70uxro0tD+6QESYpNaHmR9U7CRbwW/ieZZnfuBQbXfNzhOd5+oytfacVF3W4dOEvT/fPZ2Z71nfKd1j3v+9TuQT45HDSj3+i0HbOqFENo1lM/zyQv5jihVEhU9XAOwvrcvPpsBSk40ZaJodHXuHaLrcJrFZBVt6eEpdzWm6j/U5cJ5HWiupMHvKYBUR9XWovZvn7199GU30JmogS6voehjhbAXah8I/KTQimuNW57d/cow3sht5a4n3nd2UcwXZDuqY0lE3NalTCnNT0O3lvJMvlwlz+jV0PjEBRpYhEHFISm90CVl0hvHzw3deG1qUU9olmRIcUVjbFMvFxhoLDCZq2vDQEp5fu/WdyuKI7mjDvK0Iv11LYR8D17jm2D619HI4znjPcub8sn5PK5+sx025R5++UoXuwWcaOgJ4RUAfpPcQwRNvHMxDFG4KBMdUoOTSRAX2zNPvK1aO8blwWlEoUhIoOX0Zv3dcNx+K9UAiVHXKl+U/kC9y9eDJ2qPrnYHJ8DQG9ViMcA6S08uM2GlyEpssEwA7jQD37F06OJoBb5Mb8QY9Qh03dIKQBLmJkseYWri1DQO5yP4lzlZi4c42WqifOxOkjvYxkvcvacZUWnyEXbxdZBPxnqMngUXcR8dkhJw1JraTkKpBtmdOTw98mlr46MWHbUgqFWcNU0iLhFDVbxD4I5AsoAYgE2IQZf1fFiLFKeyNrQJ4Rhd2QSkPFSYnOk2HJ8/0qO6djUJDT68r/9FM6P30yV4c4df22CaVLsro/TJ9yF7tsPcy4sgVZH1Xgj/xjZ03G6g4yD6lJj6YnjiID2Mjf7l1JXXX2lTe90/ghdos4YFIC0kpIM8+aAXylYoIQeX2dBdUnJfYDunN0r3yt6hUjWcsXFAKQlSZgZ+6VNObStEus9FA4bu/E20N10qsgf5/yLT2rIrT7Iyju7eTO7+/W/zbMphVrQSbEpo/ZO4JmXOYnO5kQ5UTlBJS5Ft1JhFdNrepoJ1lP+b51QgPJri3kXfh6aumu7njKeUgcM3DJ/jxbWCM+ZxA8R1Aj889AUjMy1BhXc1Y4zY2x6B1pOxgX+hJ3my6M38epxZPXfZ+vwdXs3rcfFTp0BAwqnZX1gO53kQtlbKxaGWkMnYjB0wAfAo1yKNmrz82lhS1IkK/uECPGrV7zhBwFwbymsPAt5JSqw5IEMljJcQBM5IwzFBLYHxq8PQPSE8WXlCbQkQj+BN6z0EH5OUR4gzpewuMpG3y+LiQBIvi44hGdhUwPuvuFhLYsYlpMrPS27oCWgJVQKmbTkGbplsJAJmZqPZYaFyqRhUZh5LdqcR7hAB5g8NNsJuEmurNQBmA0kVVNMYKRHgxt3HfiASgzTT55qqoqIuhx/DsjzUrHJ0jg77ytRzeZ/Va+raYYzDQjmcsYwr6QX+321FSdj0bpY+9QvhZwBx27Q3H4opHqp4IyH6KLytwdSI/Qi/fo10uSyPHqMHIg/SqQROR7E9GTpUlgvDVpgk07YutTV/tgikTP1ANjbxqXsMPWKtprVL8iXiISNlA/6h5K3mSpTPlbc22O1KBIeb+Xgb83UwbUP2TzQ+e/UGRAiGiMlIaRd46MTbcWus+g1RCvTEo+3N+viavW3RlPALw/FgjlXx+iTA4MQ2fdK5PWdblup4lav5AJPBbRNuhbs54D24HVr/wrQvMo+0przbAIee857qYEffsW+hn2xz4pdzD+kV9WHXyOxRFBwjKGEo/vRrJj7CWRWD59ve0YPilwAybcLYAwOHZ3GwQ4deVBoadsEVmG5Me/fVIICTsLYnWxhwAh0kZwvxunyQ3rwScon9aHF7gr9LJeM/4Ec0U2p9ozsjb2I2crri9/ZcJGOHY3/9rCXHNxmk96yrccZH0bkhcER9IiAdPC2VBM7BGAWYY7IBvlPoiGdxbGQ/PbPUebMiFfyCBw5/YzO1b+0g6CQI3ncgwqlVzgDrFX2zJEQENkl6w225Dv5/dAh7I4PFcC6ZX0Qd8LETwqB1ELj5KlzYHLQkdKuRI6BTdcb3uPMWBAp91enTY/CsptktXG+uahn++PEN9oIq4t+HgcXPviNTi3W3tRmCIsI/4V6SnaYv8IIj6lF6Y9QBpbVfOKUTt7FcXSzB2ikJfzlZkDbBsI5HzFv5Nl7dYbao+DZvPHEag2q6qi4CB5CfaeugOwSPRrTmasCeSmLabicLQZsZOxNzkPhfAZcVhmCD6xs8YfgXUuhsDtnMczmhHxZS0utmW7h2KBXQ5K65JUkAlskN1jEHyUcRLVw93+pk4VoKKLNsPEEl0haJbOrO/7O3Fawhbb1ebEQ6RiqMPSCdtNxnKSJO1AzvV3cKu+duGDl++2ySeXCNnse6uPKNFOU4hcecZXrI7AR4BloRUj/j80SiWInfd6etNBNgaFLEGPM17zETQR6RUE46r5VAs1QIF18uPag3dt1Ze22c8ICeHhyhSK3nr/cHyEyeJeXNkM5J401W3bu7aW9EO6J+XdNt/NaLvE3QdfIqF2cUH6+xjYkb0ktGzv9yFfF0//DD9KHAL4gKrPXAhJ+bgzOXnvn2ucpX4L7k93ygqXbgC8Cl1EQv0dUdFjap/nJr2Ityas38xLBiQQqaW9R19ngAhiwDVITnqcEjdbpi/nMnEs0ilvzFnP9HWMsrLK6LnB3KOzf7Xrfje7ZNa3EuVQAZNOCNCry7iUsVOv3ZbbLGbWGPCMGu5fSkb9v3e9DnnDu0XY+3msDNBxjgItoT6MV/0/1QXKyljjpn2JNZItV+o/hDrKfhlr3dkJ4687L3AxijxllF3PH+EONIPn1NOLrIzN7k12j8hMx4v0AQtN8JL+MD96KTRu1oWBZdygIwx4792fqYEduTYYWbP2q7v3ZbQ8sqSzre3s1fBv13p82tXZrimKnOkwAbtFW3vPVm29YHH4XBKllw8fhs4Wxiw36T6JsmzjOJ2q9+TF9UISvFUqy1oZwziaTlSXuJkVGAlrXQuzGcNtC3fjhI+IK+syHSt+vBcxWcDEIjEIIZUm362TRjzEH09zqHtjOkUlJ47ALsoMNDNSDXWw0Mdj9KnPyGHcTv7ZE4hShuZTFHp8R5gtppSI2zgMgLjdp7rkX3TDJ0uIMz2rtGhMmznhrh6zLHa+Dc+mzaVBu/gcYzFbo1fjEhZ8eGBR5/rySWgXzHNX9TvmEMPKrSQP6H1/Bz4f5AkqigRO+qiUXJtBLSJfITB/cV01kFqiN0W6VKTb7coTn+vjKAuhhPlIKCdFOzc1/ISXBMgwiUtEvnyQuAmIx8bzwLDtlWRLekktSbcO7tWPD+vMMCtXKy8PnQhIS4y+6lDKfwFWyPayvJ7XUGbav7QFJYI8clcgFX1r0SfOTjjn5lx/zuoU/cmTuCLggPfs1dxDTs0rjrZxOfvoWjA0V68oiYVWuxjb8oWyvcmBY/cx2vRaB9ZUa7qPhfru19vS9jhf89cmbPlYE3AYCKdRaFlobdhFvNZUtBKmLiXPkrc4j4qShZ7TPxobl5qC+NWARlC7e4E2iu5He03s/Ql/3LPsvqz9CAtW34B66lCv58SfSDaJE3IZhuuZDhXv273aQXKhNpbS3feSOHhqP2QC0Mlsji7zHUnbpxLIcIZ1OeUJ2B0tEEoXZQDCrX2Tkao/K+lfEBxkzKqBcgrcFonL/APt501ThuamGprUVIZbufpoMDWjM8X9ExaD4gLIhUWYkFhtpy6xjOKvcXHiijF13M6oT0yhAWeYLoDHH1QSjlkXeJaXo6iLSdzi4chLDeruOMgumGGl4dh67qArNuJeDGpD7hOiPuy+1KsWcvPneV3zA6rmr+ofunzycV7w0lNiY9EzVDjC+2R8qI1couhIsRW+Skkj2ny4bM6ZS+mv+0XHsVs+y8t8YyVKVDiW3vVvElgOyx6Ajek1ImGHwu5utlr39QGd4hzaPjTtORmu4cL0IomdyLe6jbzWJer0iwNP+c+baCzdAmnMAz8nKVlfL2VP1mmNW0H+GFafTmADAXI5hp0G1BnNAaWidxK4Wj3BEQNDZfe259Ue38QcZTLFxmbV5f3rFseT4WsyxGUAIcCYOL/gBPYEZOW1qFyKfWpO4sASgz1VkBgL+tN2kMnSifxvjqIpsjHT/3Gea8B3hkrCRzBD4GYCkfikesEKdeuCRlOfJY7m3rOCOFOdtolUrVtvJrc4PNNfgSOo0W9TDbFXn/0AsFQPoh3/qFp4l2NmINJb28dQvtXHSWA/51ghmg1lPnaZheKoqhyG6UsbcDTYjNB792MqCW7KgeXa/FI/7kqT5qEiPpx4L8ik8uUHX2PBdpfuIRZKJ4P3skaod3G1NAz9obKBsMUk9GjzPy8o/nwPAXaJbtGgSXwBuoYAEPpb7JFMPs8Fd0ryK8Rk9jnENSAQcKxib5zaKD4wxxvqCyaWy2WpO2HgI5HuQHFjEUpFRVBAQXTcYYSwP3wd7JlEMDiVLukLKRi/trHpqUEHIM17kQGxUfR5iX23O7Yazl69QJz/AcMNEJH9TmvrPMqZoAUkFJ6p4t2w28StqLED8vjqu/iPhPhuL48j5VUWg7ltZw0IiozzmbqNv7brN5evkGZkN/YSrWIvTN871kBG1rC8lXwoPHdSEJrtXX4WwPEQuzLNYEB+Iq/1t9zkSMpWMKRFQw7mZdcQQ55IBcaM9rOBQMmhewO7+535CEgr371cLOPZjkSDRzXYpOUFmFkJ7Cv4FgRyCs8Yxsf8M35++OFnMWOxhX/FVrzh9F1CsnsjK6e73Y4CLfFn9MYjmnXbYxJAHZNz4TtNdGpyqyoeRFGEHVhg21ragsr/kdnC3tuDyaQ9/z0klN2EoxY3XTlHuhsEWMvuQrQ0BWdrXzf120W6km4wbwlnhxCN7d8oBnETF95Qyv+XE5xvOm5SwSFZh5XLy13YV7HNSUUCk7LdhUI1NDNmUsiZo+kfwzFgTSnlUR+EvSJqJzRSwiCKkMXkhoySpc2BiWlIDkbBSegQttBQjqTwyj6OYll0DIU72nomcRsekGFALrims9JajWrOzFWlRe4iEHq1gn4QlE40NDTa3r9PFCAgEJJwjgp54I4xsDkZf2OOnz9YqmujLtjbllDCngpNBglGQFGDtkKDPIXe2EYewAB/YPij1aKk2Yyl/vWlmhsyziT9f5mAHa8ZY4zFuWZ7pUkE+BwMFRSz4i1MU39wY1tzQaB6EGVtKQ6ZIyPmUAJwaeeZ4IpWxlCqotWNN5joTbgHZk+AtggPp+hks618rbHEY2PjViWp6fv4NX+fvcuDwlH7DSS9dHbdQBmv9+TiSCCQ60HbDYF/I/PNi5haxXarCeo0Yfy0001l+oGS+2U/4LiyP6Wp6D+mAwA3V7YiL51lRjZTdLcm/EQlY1G5uzhUPrcQDuAHbLuAqiuIIOAVkyD8+QKFrs2ECyApbnIdgIqgTg9WvOgG+u9eK2GBwF5InAXb4fxBbwCSaqIBIuZ2qmc2Pbz7Qik3dMqTf3R0RGG43fTmkhz29Wz3dxo0jjqfOhMQ1JHdmPIcLhoNUS7+j93rcb4+CRYxkSSS1dbfRKbVJ8LvqTS7J5s8mE5xnV2rgA5Tq/Ccxtod8jYgyHv+oqe9kAEE8kGQ77gT0uv3XU6qPsJ4CZifgkpquuF2nurhvtM2M6EiZFYIV22eyms7OXiZG30bTfIA0qhzezHMYyLt4vsLl5+7dUTXgokpECvwEeKOk3w+YLISHBwfs2j7RwecepiAU93xM37ptirW7gwOwXICfTOxdXMjHl9QrA49GdmnOub2HOf0HBc4sPiiD+sZ8hKEZtHMjP4wVDK0XyNreN90WRVADvIw4lMu17mkimWLoaUC3I3im/HYRv4JETm2CkdF9TinIbcpD7S2fQ1aqWotsrI+A9/kBXZ/kZ3cBtZ6GaKfSmwyR+k04v/3J+zTbBelprehIbnFUpdHY8J/NfDpltP24byu6/aNBpV2+MGGmaQuUqVnHLzgE0Jj+SQtXvrNGHASProDmPeNtdf22flKy0ueg+YtCOR/Y0KXOhbFOq7CgUYotZPxn+n0jLSYJgBd1R0NwSi9m4nMsKlDR7/BsNUMaesVo3YAVjDwJjLEhEelxLAIaVq5FNBwWX+bmBhlnEMwprlaL/y8T6RdFkD/Hu/i1729xM/zCmbPZRPzSNQx5W4aQLkje7ZP0v6YzLCafF4zPq3IJOAg185SfecUM6fQx5wE8pPikUL5BJkZQbxzL4foBkAluIAMvd/mVRmCRc6Ri+s2YZxctamHSed9HXIQFaQIVbNI7lB01akgzVe10FU11U599EoDmhsGjGp4QiIbGqg4VLtGrPYX7eFzdIOIYR5ozND9Q/CSowc6Y2/CIa6i8xQA9ccZtC3PHIs09oRtPACiQeaX8gUauoNxL16W1O70YUq1Tm/BiFG1pQV6VCSBv4gkWZI0DaOXfC+KP4wGmVuh1aJDIpTC0qjjD0vGXif+DnEB0b0mOtrafxL8QIudhc7UGAm7ntbdGGLBQ2IW4JT64M/6GFiALDQxtmFYVICYwaNBrCnwtD3e8cctjig3exgx3vkqoLcSfVqgjTrxmQxbuIv64w+/5E01D/0dpRDdU8ey+VjeUPfGiuNuAkphSZ9VCIt/7RogR26TQ9p/gl6odi/+v+/OEfBt86BK0dxYXC/NNeY6G8S2kNTkwXp7RYvJFHkwCp8bU9kUkB3OfpH+wc8cgqINqOSPT8SJv6gsXFk2zWe0eRLEq6oSyEbtbexKYqLqTUm5cuuRyPS6RZBANdtahVlxp6zHSa9f7Xt3J2WgakAfAgVo1bW+Zd4O12Y85Tmg6Gg6UpulY6xC9doeTbXjCVN0H+kP+vcGHNKEFlaEHjbTFYEOmRtE4QIyZQqLj0Br8EW22aP0nDIuSuM4bo0giG76A3bM6TULnIQzUwbMWi3l+RtO1eztW89Yu9SQ9PvzLrNexp2Prezb6n/MifqhCiFKeg/29+ee6Hha3qnFZb9/3UX4Ex8BwqLP3uQXQSn5aVXPUQfvwsPny9XBtVlgCJybLZFtfkh4RjuxvEIdUSHD5xQgvdaFBi/AfoRxpUmhlNJ1WiK5Z1hrHw4FAvPukj9PwxYbspAPypsaoA+EIB43KNv1dqvP2SPkIcq4y4uUzKwgQwCSJ9BT+NZoUNlxtRdMA5ocAzgg2NFrZQ4LhSTxwDHxoTdef+eLI9fbuQu47cjhlvyA7Lg5reU0qGi42IGJo45SvS8IQ6M01k2qD++bpchkr4vAIGaoPLMhUR57RCIMXXNsjfVfRQ=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vr7nGifzreodZgOlVUrOPDyJNCThuF47F+xU6bOAqd5NVjITXHa1b3mlf1KPgiO78JhKMBGbko1Uiq36QDZ6L43tDoKxOcvOpipLevVFpDqpFifIQnBResJR2nE3QTNcDrduvVQmmR7smr66P1Z0waEnS7aATP+1CL08icF1eWQnZUI0GzNCu3cVgn+rs5ZvseTLptjPjWZqKTBKjKG1a+FJSF5iPvxTKO3DO0jU13cy9WETlSRNcp702GipjpVUQ5F6EP81zvna+Lp/KOadZYLDNNd4FS3VQKmeVWJX8pPleQvNmP99+steK/IMmoMm4FC23WBH06OORR0N5sMPCtSiOVFO/vZ0N3i5OleiVJc9kW+pWDNm4qwjKmaskGk8LP9/zmaq3JofsVnVMtbqkuBS/kiFB+ZeQati50Cpw3VRwIC169GinxQzEVBlAGdqmv67THFKzMUBEtytBpaZuR+3wVyOb2T23KcvYJhGNeRONACexhzLz7nGaE9vPeeF5IOVfulyiHDZI0xs2mZbqRTXFPYLcfnApLugjtvTLhYKndXMhP1iVMTXZOTuseDYgVvnmKlFx4skRNxLL/cZpnALzvQItV3JKagEzXhIm5uF98/MK6lxeAeX3x8QWHD2dwbEMM51gOIaYGv8mNwCszvabKSao2Sm9fousDe67rRYi/SRk24SXjhI99UeWROayjC3fliVW4uoKGOVkZHSb0q/B81iu3cxdVbJYDTS4EL7XpITEdzFbKafF4fZajP437U0eIr4x6ATGickIQfHngpQ1ogm0B3y8pOX1K6sSI8vDKd1E3TwdKGZAOc4I0j25drolMrxZ2Q2UN8P8iDZdJlczVefasxO4XeQwLZi6gPTvLOPfewvjoLILnKT8q0iATS5/gJ/cBKSV2vUWz1cs1YDiaCiz9K1EJJONoKYhU6g4mS78sqtkJQ+23uc9xCA7W3MEU3rdC4+s898ZonnwOZNvfSw09mDMsvfGytOxXOaRwJ10A+uaOr0b4Q9IP0JU6jNKWSPsjOLL2FcKzd8o5ldvyEb2H2ukri7JgslNLDjDnjWacsE8jEvpRTCFK4WMPrnb5bYpQq2wcYq+Y/vBq3sGZ8JMpMX4wf0e2N431neAjbLKdpcQzPP7YK5DA/NQLcdkkZ8CJ5fdaaq588hvtKvAK1inYgxj7ZXWNfmPkbXHom9BSR2Xx/X/zODZD7Krb7ubcdsOypfg2c8oQysb67TGu0hpz9CE4Ix6Gn1YbodKyKfqXk1wkl91Apwi2QdjBY5b2757JL3wHtyyxSql6iiAPQ2UXe3GhuvpXXe8GgQMEzuwWP+TrbpPZ/t7TDLAqurDHP7n040Csxx1JjUh+OLD6JtqEU7+0D9TRCDEEJh9bjfsLzlYvQmVwYKTqTcAjmcffzuQZBmgohYNOwc9Lm3wEqtH+HcCZArSWDRK0pyqIDecCGFuQ7w0ZiHHdggRLqUOtuhPYJAWW9o2WDbU9e+ULK7JG0CtSUYGIKYCbAXKiYCyLzCTADAV+NlDvz7qZhpaaNninWCFwFzVoziOcAp0t1xPV7XhzxLq8/L85knGkwiGe75J/Gk8LU7Hkj9HdueIauy0jKKdSB98XN0X7fprheg//haeuwlbjw0fFWE5FpHahOZLPPpJtTVWOqT1ypb+Q/R6CZaJUuX6B2Nh63amQTBvgUSFV5GNEitMP2cSB2US70ExaYPy498BDC0G6wqBr5v7RiWVficcXTzBA+8nk3495X9Ru/s7a41BvqfhlcaajjHkLFKkQvi9ltuAtgSjhyOg2XzcbyE3kVTqJq/I0yePwWfg6YBrZ7hen0aahX/Ar5yJ6QqopNhddsClc2UpiQQYJCIoBo7eQXOB9bKhrv0UuGuZNd0FVgY6mRdV9uwXUvQKYalykRO2Hts1t5OWSqySay26zw5wFkxGIROv/2mwZ5ynbT8cQ7jAbb9LqPw2tr0XB65S72GB6CArgo8dkeA+427CoxlphYGAhQ2M+s2efQGZvUXn7gtUt8dYO6VZElPU0xkR4+W3CpbyjBsaQJMwfCpdKX6hkJcsZVPp9BL0U8S/GQHVIDRVM16Bw+1brmLjieJ3JQxG5WA8T/Yy/JClZvux9c0YZJ4m3hmc6PHIpjYnaG340CrOSO9LeZ+n+7EEz6aJMRQefmbp2raaCUTLkfZ6dHyMvidkYeh89xzPjwM5hA9u4O5O5xkgK4QLfCKdbl0bcU5Jmak9WYowJr73PEtrWJgkWkcKFVphOwbktStNJC8dDEl81hD0NNMfwbwR6JmZ3IR90Hu+rX/Se3iB9A4sbrLOKYx82ArNMLq2TeTLDtMKF5/uiUWGQZE/A5P2hotYm/NAruBNLCtxG44cEsPp0fwV1uh2a1LBv8JUhLV53jUgsmC/2yxFAeR8PMB+SrsBf3AY71txbzCeiYLaix80W31pjndPY/ewZjnpG808DYxcGDrKuW+jwfCvTMknk+mgGxGheLrknkLADOgvx0SPQAlcgyF9Q+YHohjYPka21rRURcK9kX3my975f97DLhasHhZKPrK/neIlMm1iZzVWGbkVl5sEFg3+AbhxK89RLsfOeWfmaSUAB4KVK9ma3q4gmRjkDOdWWVyuAIm6r7u8VDpSFFVKyMdTF8FZhqK9APe7NUEn9uji+aPWCcMY9uzLILGTH9cgDMdlfOJ6BjXYu2LYBgs5/uIRJOUEQKZa3gLFvZeXsTYGUv67UL8pUxNOfGCoAVIgOXS+uPD3s1y5IfW9xZlfGOYYeQ92HD0tiwC9r6tyVZ1SfD4734TLdaR8dqv2ScTbGIuUQa6WXlTkH9Kk9fCUpyKA8vHdsoOTYroIbhrKSqamQhGEa8w/Tdj285iRwEkxx9apXLWtdW4GRqvueVf0WBV2q7m8zYI0+5Fjbcq+KbYcsj+dFm4Ym2GmCeVTejspCmeXOZ6CBJXnVlxpuFOe5crhnS+ieQkVIwj4RJ+zby4xKxfUFPkV0vhMGBT/wQ3Xc8lWvcWGOwWMshhNh2lyIfEfRyDPbPQy0OVp4ERRsR0FUlsQIrd0tv0jfS66Aqe+O0hADWa8T9pKXAF4RLO1L8LzoVGTaEaDif4svmISylXVS0UnuvjMvE2p3LsjjaVqeNQAq6b+gtyoDP1MbrVgQbIHByd2ei1Tv81sRPhb9+NI20PDI7h9M/V7nRgkmbLL75xMzbQ+gyHZtipR0o2AViiUPNUKcaJGj9wc5i8P5kiOeBKPvU2PrKEQaGr/qvNYZXGOGxX63WLDxxXlo2DZsNstbABiF8bu071n8PLTE/WLcE4JkC4e5nnoH6jx30HeX2i7+zh2wG5eKJENdSV+EMNmbmcAxAr/V69a00HEaxI32t5WcSmo37qcTbdqhYk15mwULlP1mX2hZhDKXSrQ8ClgnHyRqUlJ6zjfdvuDTBW7YzV+hpPPgcH2ttmgiMmXjp0ZcX4fCUie90H6Kx149G/iSBxB3PzN1VQI9lWDAo/P+XyriEzQkXVhNGX7q3krU1ZU4ZMbcDGIrzytWt4onf53s5IaA54PZ7Ecdt4PxHlu1Yw6O7i/I5oEHz+QpwnuWlKgTEa0jcTe/lDiwrCf9vTGJ8EwMdZzqt/cI7mqXnEoP41sUlgHofoTy8vwESavohH/ijAcHOzubEyXfqjKR4ya7s2CRouyT1LlnBD8CiUfZgrqswrr3/29A4d/GKB0rzlnPWScW8/csM2+SNjSX1/CS1m0dAnyxRF1cFQD/JMZ5Vz9aqzwNGs9D3HeTUfoXp5p8gtDwylJ62EdOBI2EKZCqSNMkT5DYkMMcHgUmjjzz5PoGWLNRplWtbYHliwSaBRk4Y0Iile1CZ0Jj5jU8KyH52IhjfqbJUS1xvVvAX6NxQET5g9wcz5MZgHzaPSn+iLHgOMTYA0HGp+0fqN83xrmGv/zpzsjuWJgxC8SoUhlo/ugGohKRwQEk1IEZlSToQLnH+9XwtSElH1zhgid2iO0/jbLWl1w2N0TRg5XnM3Zg62FDm5T/AzS92NiutBoL9Kd4tDmjPGn0T5MkOOlwGjBRb5mKvL8Z8tFRNvRzZ1fBKkpFLDif/PDs/TD/+sVyxYS5mNe+254K6L8YkjivTJ9xShhqIoM17VZbBm4hFRqcK0g7rgcSc0cCuzw0cTptP8bxSeJ0Vm84hK6jScmgi/n4ZUt8pnkuGWvBaeWTs67ynkOYQdu1GLsb7IJASy5OI0mIxZN5CWFjgT8c2duZmkEeynEYHTTh3e8cCo63IfT6klCnPGo4cjzANlV7XPeXxzO43nMtuXpw623rrEXKvhHAFZKH2AUpg+NwYpFv+EE12iBQMr2b4vTkaGkt4qGn28pRoIDiaEgtiPrAxX02FLolLZf1PcT40DztLlhOj+LONLiOMISeaa6jY3iZvuF7wnAH3KUgTpNpHwvwnQeF0U6UdBWuNqqMNal5r3w8xGLoyFMdkjR5UrLxYGX2Pi5y8+0VGtshJzZRhbtLfI+Gk5ZaRLd9+4PYztOVp2r/mzl5JH48iuMy8zcDB7ONcFg4EBjrW0D9ZqxmM9MNWFTqydqaPy6UvD9cl5lcc7UZ2VzJzZcy56K8tGuRxGhvuIqZ+i4ft4ikOx+jcZ0bxjPvXlBjruaWacILD5SyxvCPUxOyU2L0FxXb1gFzXY2Xo6rpSTvZk+nI4zIRkVts0Rs6Tfi0qrILi1TgGumkJQ944BQz7gUDnPO6T8xQGokVP7Atfs72qraPHWLjagVGg0aPv8Xkaq3UEw7FySWBWFTu8J9PAnpqe/dkJ+PEXJN5Nhx7HD7QM4vRXF4RqQqcS58E0nNhMJerX4A6FXjv6E2Zr4A33PZaRhfTrDHUiwNp+Uqat6I9bwO64sP5QO101OPj15YTRTIj/MCsnjGtCTvO7iDjwRgiF+jooK5R6e+O6bC4NLSmHd8YQPqWcvYPrGsHzvlGDk8O7yhbMnCZ8byagfwjmZ1685lN7sVuaOajhRwiYvZ1jLZqUKMCEEZhCews67R6AmAWM3lTfXpsWT3szaQS5TrLhumJpiVjithDP9qCKIW4VcgTHqTMJhGr8JA3eX3Qe8suSpBt+bfKvbyPtv1Ciq8gyLChilHoq9PruY9oKuQN6lQBJWopyWsSd8oRrer0xZg8VPQ7kqOTNR0ZoIrnmPTjdgIn/2eWApGcdf5Tf5iha0GmO60eOKcNuVjj0YTiUjm7QBt0XCn0g/K/vHeSqASAhrcASQvifCEFBRlg5AwaFf91WrcOg8r5I/+0T7xMD9znxJOC9o/neuC55pKHyduE2IG6XRbDDvPfhkXp0jiLIc4gxJHaI4GaAYlPmM6nWMv6n7GCL1xIPVBGZyCqMT0IR0weKntLlnBVFFLVUXI6km7f1oQ7xD3+vr78qW+UIw9xWUNWcCAzazhFdC7QhYdrFpJEOOU124HYX/FyavmfPGZdtaolh4dldsl4qJSUJXuVgJC8fy6VnY2uNZLTN119BKDqunu7ohTFDI4kaC/xjJmfuCKU1Ms1h4yPsjdJlqK2AJMjyOUygi9xpO0QfrYPBtKJcUnq+5KO6GhPfMGw/WhvirAO8XCeGS5w7JBkThJT+yG0Rv8C42VNBWx/urNZgcJPgF3acd9Zm1AjuUgqGyvgm/l0VbBCsREEwg8xaki981EJXzEUBrWsrW+GJ4aT8xhaq8ysiAD+n2g8zmeTK22viE+0G3iSjPW7iTrWhfqCoirUULRa3t+nd9O6uvmzDfQm/Du9TIjNwcVPhKOGEbD+vdLQPgETMEncmzTP+6uFJAsakGxqrj8I3yzweg3GqKbyzg0dw4x2FhqK8zRmgsC31Mrf4NbY+gfxwNoYcojHG2NtRuKS+g52gFpx4LSIkxagDwg9Gwknp+HrbaU9E1ygUUaUdGKeTgii5gGxXVlsTpu1LMHUKwOKb4El8olkhca73o4J41QLXFJo//Stvoc7yHkAIMfhDQnCfO6TTFA2eswN3CmrWvGiW9gb5PJr+ahkaweoxb5buCU3qEbB3xUk8xobWKN9qVnGWMN9TZbf4xOV8BN8O1ZDuw+01C5t0o37efdQMMzy2DeX1+pSlvWKLon0o5NoAkIGvkbwW8kbnjkHuBMJlR/vaMhWyRZiC6CVWszFoL1ZA4CEKz/OvbVklC2R+Kv5IOL3MoIMTTYxs6V+lL9Tprl3Kl5lv2chD5rvJ3Xv/O3010kbzVj/JC9bsYJs6iFzjCpFJl9PuDiPxiuzmLNYQ0t2ico7TPbolQKDVrwq0eI8QijUZUZPIAXqDY/ueDcU6wq8RkC5ZDwrJ6ZADcvGV2Z5WUsEQeo7gcdAXHN3Bg7cROw3yfwPmkI8Fy1WoyMFFUlXhNxapISb6jUsi800lsDm5ohxJluH79EBHa9SuBgYjtZxy8YnOwvOyMi+zByJFE7mF4lSr81BGV4uh/EdsPfi09GS3dDlEoKKgGkvsnmfjAqsPY6TS6V19CQ4OjyT9i+O3srPVW/mA2MwNXCmK7bbDCaQQdHYCmo32hOsn+lJb1ZfXU9Lh4avbbRxB2j/JCvrgP2NFnv52c03vyHag+d9rQV4xCZmVYDnVGkiAjc1ARJQajBSEJIEIf1XFIH0BwqZDoouFDl0rLmf7gegkmrIU3/dSCCNNEX2V+kCwfhgK89/a5BKG5WTJiZ6E5vuhALglf9PKydw1MbmqVpLTri1nGgDFAhNqDUmU0nXtfPI2IExJxjvT0HltUGXMpx8gUepAF6BJus0Cvv5DqxsHR/28HOEQsZSmhTFQvFGB9pBWQweBpd2zX1/clXt3YBkg+dJngZtw7R1Plscn+l3BwRMp67JLCLsLUO0+680GwNOmHr9A5TD/28GTyPlZVjkzZagSxq6LwIAMlO9RpTh4se1J8JuaX313JiNzbwT6CZ1d+ThjccUMjLYurCMeUt0ReekHuhbP0OriCvdKgaiIhOmcUc2HaPQmJpZlvjISzt26BXcUQJVKaU6BoZZCwJD3glSsaASAfmAepaglkrZupHBkZvI00/R/1YPR1+/T84mPfst7qMUWY/RDJyL8ugbuwfEQzwsDHQpP7tuDoEW/gdDRQFRATC8Ze/2svjwd7EwZZXIYs7sYYjBIAUdiIN4Yh6SdknnHk+9T0EcxWToQ7Cuwp1jIhiPGUjeVPYCV7Sl3HVGIjF6nbUWbapRGXQPbVZDR3kFVMDE1RQURsVH4E9s7nQAkeJGzeHfatE5kaTRxp71m6Ov8+rcllDzD8KzHOc3LwO8kxPxNVxC1UBbTZPTDW4qbzq5q6c+mMcvsZB/KW+Rq6pFRtD0x1eSTCekqlyH7pAsRB1qtqFRTSEuyVMLdMkdqJ8b6n+23QNs8nd+iBSv9QQktf5Ef/+Sp7bTI+M3nfgczypeP5mNBFw3jay9WcGhWnjV6+ZWaZIl1gdBGRXS/7DT0SAS9SL0UAJX4dH+2ij92PRdQEYRzowkRbqXFkqvdQOrwSlWRw1pB3KsasRpAW3IFE0XRFDgUvLNW+N4wxgB/a2nVyA6JIQZEYTaIzNczm671R9gSgEt3WlOooEPKYaDrgTgRVK9pjxJcCE3gH6lQDfNhPX9PTSzMRnMUVwyOM5URXbCiXhj2yzUSUiwmV6OyI+9w1pLTYk0P//iZUoR/9+/zrhxIdejEcuiYWEVEYNlCj3oxSIfeuTmkMVA0ycgrdaokIgpzjtkOckQdA2pnESGhkLBD1iQzMfeseKeKw3NgZuDEjFpgO//wvQJtW+w9C5M+lg449YFZBkU6iSMQEeoWxiSsDruyeNGiHw+2c+gevLLdXh/BRTOQCO7LiCzjMAUXYS3szboT9QwXoKx+ocUEtr2SSRgTD6kTigLsliEhR7NH0uyHhVZVCCdnteZYGcE/MnXFuadNRWq7P9xfQ5hoVDI9y7GNFiHhQdLjQoU/UwgrTK+IY907+s4uAMdAeadt3OMS7wL1bixBZ1CP67QU6N3lUqxy4gMPxBWrBB8lZDyH/Pf32WvRTUpOhvUpl/zZEeZydfiHT0Jo4twcXrQsJe6+WPiel0H+nJE4xoVLIaM2ysj2V68+dePWY6cd4oWooIKEXcrFkURD7RpfoEBL3k3siqL8EZAVGCy98dsw8a6eqtDwoiEXlxjGQRiUkr21uzLanvFRNB1OqiGHceu8N5oKTX9f5bn4BamBTZxJJc/AZsH9ygjudSNFOsFZsTFrG/gyXQO/4nehc0PhXyh2QBR/7uo09/SCjqLWZHKVxlWG+xtgj/DxSnEm+J30SYL6kvlmCMDG+84f+6Vv+YlAfdyBUI0kce0kbJViWFl4LvTyy8IFOuV66c55ZgFLjJUZngtGvlLEOJLUhZYnOEIv+QsVeWAbaxF0tgKVDfdb/MuJAZ2uRjSzh/29wy9CRNaPaO3NPgYSVyyEWl4WB4mqAOuEk2UB2Wop4f0ONJpummY04ySFw/RnEEwF9OYI5M8SzBOtc8+c3AdXBRyG2HPmGyiRBAIoaWjyRI+cXokSQ63mefB2SK9lWEW/acpidcnWLQ6Bxr3xzdXJaJZfXYOPp8DD5nIDvuu4llFQHXZNGmcJrNpHsacs0UAnGLxCOe5U5j+eIJWw2t1AYjdPldnz/Cf47lutF/yJWX+3/0PAvDBfb0z9DjVdx7bfIZ41dw9hX49ZC8UYpLrggyMXXTQep/OLIKfX71so33ibPMT+W6ttrzJnI5WGkRa9qVVH2ViLcbeAeEFgVpZ88JV4Dj20hDiaGd90rfpJNdu0aDgqrjBCrKJQbxRO5qeD2TavbPhbG4xf47o9pB8o1lCVRr1eDlAvyDXWucfBr8oHE+vdbxgA7Yut1r567xZUCWl8P7MQNrsCdrlNG/LUjQoiDud5Vhi68CR2v0j0pVUjYgd5lHAUns17nG1nktcWjb+8HxPX97WKsB+KbBYmXp3SwBWMgDNQX5t9m4qMdn1MLJ7qPLkV9uZByHJ1JtvDymTxd4E+k0/2Ue0Ce+1MaDOLd98hrGqduFtf6I+gB9nlWlxxS7R56e3gsiFAx8BF9UMjHoLrcRhZ39mSW55x1sXjWxgiYlVSJOJjpK/8NUbAjFdR+bgRqyEGp5r87F4wnELkgflQFxEtCxO2kcg2A/VuskiV8/nDpRzgfrTKtp0MTiHeQl+iAs9IG86cjk+z6MCMm8f63JE9GMhB4K3+5KZIvwsuZha0N6nmIZDx1ZKROVDS9jy2Xm1Q9GD32Z5TSnEQ0Kfdinqj9OedPhg+pJtLSmaWNQr1x5x988WgnlfOI9j9pc/Qq669tZ9pIq1ROG0alsu46oo2FOQDSNzRRHqc2kSyWnwoLd/vdUk2wmXy2CvklcWZs9YEHjqF8zqLgd1Ao/tttY7VKCxWgMPJv7jIDZDYKIuLx60TquP97YblzavJdGvFUZX7LeVoclq+Pb99Q2btqbW7SNQB2Rk8p+q1x46uNLThDjCcy1t56H+1bgq/5Lj7sdcJUAR6u7Q2Pg3FR/dtHRD/VXp+0Tj3NGodA/S8/CpA6ckwcDXldCvUYAzFZ3TM8PhGALx5X7ieUj6iHe5dhREuPjc6bjR6+2F0xUGiA8gCU6QynTTk0W+D3z58yynoYwL8U11xgc3Mdp8awcHw+yl4q/HaZxkcq7Hh2i48W2bokiGV4ItUAmlsaBntxUcLZB+bNApkqf0DL4fC7yxTXQlCiTM7yy/c9DTlnu/wkrjMxoPA78XgUcP4Ucz775MQj9TmSxJlwSDjfB15B3PyRgVND8iH9RZlwXTjFjdXiPyF+cWWSGbPmCSPFL481ajxZGalNO/r6SAWsCJB+TaEvZ0A4mAtI8YjTeQ43gbjXIHsZQkNC6eYiUGBWLZ/LANy0gxUH7nlWXU3i9fOxjIV/dKi6erEbzT0xlaef/N0pdDk3zVHhwqqAG0LdDab/4KjmkaNW2cHVaTfmGR5szmwNOiGerRDUUvG4C6LBLgbvnep3jJy8DrmGODhAzwdNuH2ibAhKoq2oZnUu9Xa4FJYiVHZCnawbf7OZfofAdoo5AUNTYYV6zMPXeiy6Xlgn4gnVl0pXe8BEAkHrYRAsfxR+dMeEU+7/YnAyXYIGg7PTdXUN1LfFr7aBuVf7QeXv6y/WkE+nHJ0elsEDVrlX/n6LZADIw1i1dyP5o7I65kK7ZJRSFHPNegQGUk4y+f2IIwmAHcpUG/KQsqgBKT9KyU0+iA/1oQk50I1PuuXwh+y437ig6dx9Ea70dc8LO8x3FFc0cO8/+JqyK1bEfWHECoIWBtakYyxyN8Qg9u8Mu/MjupvlNDe5F0CYqiMyBZxY6wszC2S62RtomhzNMJzIUC151Hj8WuItlhKuQ9B0/1FPlylYEHgvUL1xYfdVBMaYWNV4yvpQKP1jDOk4SF7IwUP4S7CHKUTjyPJXvUrHA6sIxCEcsjy1OBv5RCG99sIfCWzkkPWRmrZZAn60XnxSuct0k7tIMfgJHNakiGVhTRqTyClSle+oljxbMuydy0ZK4lp+Q6MmJ6j46Z95Ya6z9NTIYMfE2//FXquFNWvOvAavuZx7bF1L6qbOAoYahxkzVfhsHLgTAdFKE/XJ15wtG7nIkJio27S0iBGU9MR33yWnjbow2XXvuDpv0fdCwvR6Ml/ioSUh0Ire3xv4oIJShJXdW7nYHQChZewRinXvvH0JgIbDLoFltkf9FzMCuOwRZjqOl9Afn9C9odj604rsHF5+6rSVeE0gLt0OSWomV1zfC5UbFauv+Co4LqXwf36CYg+GmlevWIT4T9nmusfRyVTjetH8Z8FRPvRbCsDlXcOQ6Ngo/lMvMYD53apXS0jE1uo8uwRTr1mPBSIctYnGWhi2bdE3CSA1jKeThQOSMBBcSWxj4oXYM4OegQHerWT68EJLYlh97FPnonSMHOm51x4ECV/Ux1Kzi/CVHBm8mpekt0z15m7Y4gZcTBBgzHlHIu7MSpvbLjg6BDXeGxYwiNSYHctIU7c/tMWnNzScjmxSy0+HBA1UxZYw+DPeLzER8qhTWLkOvc8L1D5NtH5nVz/uV1HIWvkL7RqSqDJkUINHmM+PDtK62tG8IpALxyT7UryxFENiDe5K6z9ARWd2dMFWaUdwPUBGSTHAPE4IHSo6upDc78mbFlfb9MzTDBzTrnt107Whx+EiG84Eq27OcZLZuYp/3W3VmKskj8mbDa1kBs8DhLEt3zK/E0x5wg67lxFE1WLs5hlnQbZKInUrG/L41W4YQSeYCPbfRDOro5EygXaekLqpLSBzK8zJWbxtffZIL1Qz6CuJ5PQ3/hC52BY7Xr93E8gQCeNvyxn2bUm7X9J7rxeOvpaVZ8YEHXAZFUnHWTXXmIl+H/7eO+E5tK1joiZvymr9oN/GUdYA1LLbMmD8hURrNtrflg6hb7Mj8e3KZY/1jWjYgphgezg6kVEzIVDAwXA/TlFCkkxhfVKWHt2dDHsjEq9r6W9d2cuQI84ZdFMktYExkl/v1DQ1S/VPY+0+b6FCWWS2yW0QHTtCsRvYcH/yBPk0r+MdVtIWjlFeZHWPb2FcfmB/EoeT1fkv3iaycCIr7vJ2JlSN/k8fO+Bv3tnzOzKQu+rVAQD+9/5mXKdvDcZZAtQWEsU3gAmmNeCZ1DmxKXSNYY4jkIjQexkcnwBiQRwYH9fUzOvnpUF2O3v3DT7c0EnWAmWIlTaNDlacaxRUbIvZJlhI9Aov3xJt2u/qr4WdSs2iJnIwgAK+fR2NCiqVyJqOB5O5ILy5EuKEx5WjouBX/TkOctxo2T3qDT1hIvQ1SzTfPcTVnyRjmLQNy2Gy0/GZzjRCWef7byjvTC/ZasVWqrGEvfZd/NHDNFRnPAKQivXXJmq8s9C0Um/6DAyFbVd9ehkOtIHuQrc0uJMkwe2xJlQYy9jL3Lo6FTIt9VFCpxXpsJXCSY/0m4kBKDHWQtreWdBDPAy6/iZXAxA8sx2KjAHYD9qo0ja4TFg8E32KITBd99J1N/sQulRA6gJZ08h3y8CfxlzQY6HAg6Qk/LBlYG0lOTbmhGY3/9F6dO71lsjozaLI6Bl4yXZC5S4YoaXDfh48hUBDaXIzLbgVM/KsRai2TEqE5MlYUPeB7UR12+zjGonjOrqXepXz5Uj9JUyoNyixGKLnMB14hNXJWnnwLoMx/3ou++/KfHeu6dI2AHlCHibEcwySaGGWi7ZbhAG0jc1ID/8QNrZjk7NCXT0Zz1pdHrt85iVgadPGAsUozxn//qPUgqV9aJPuuCnmazZBTi4Vv1jY1ajj/dIaW3g3xmlMHPdSenxdzVGe322G+49+YpnM5Syfxo2GXsaEIphTlhXbJZ6R8jDka3CpvNNR8/4CGi9FLed8Y/gLvri1Fhiq+NIw2lBpNfe7Yv8R3NK4qwITChsTG9K8J1EuOlj7WZx4sPdL9rygsZu3STJJnnGIJMTh/rTnHmA3T5x4MniTC4uBcJb1Pfj8cpjtcZ5wQS9R3gOhol1aYvJOTBu06RefE2CZHRaTJw2fQtp/oGcH3Q74HMMBO5VL6O7FnNjJgkDm7Rmad7acRH/tSNpn5omvp2eE6mxzZMfXyduXra44xUSkzG09po2W8GEtM/TD2djVq8eCEYrquyr4yRJl3lPh40mt/gIvz5ZZaaewSZMm3oCCYhk1CCsU0QbDlyDZHVDUb0ob4lqQNTjMdcBIBH8o4NY4Is34EljsAUFVSY7cuuWAlyPdMuZ5vsDYkzGvPDdiIf5K70SodDRjBPzGQRbTAJenZzjQJUoDeLKsgyEfYAlfTBys8A603GnJ1tUdlbfckX2wU5uZ2flLn2I/7gnlbTuxqq0R9iep2v/94BtyEo8mn9RBkafqDCLkDcJHi3itjDD+8Sy/EpLie6FusBEyvfEAecu6vSeogFeiqcXr21fvYECNHK711nm5HmNFIbL+TeLQVdFX+P4cJ1pItE7FChor3M84VdoxPXQ6dkfQQpVly2eg0lM0Xj494WYP1c0JaU0/MCPvpXtStW46miWdf3WpSlQCAL9shLP6kwz5waqq2G6xiW0s3UdrDAZVSEBc8Pl/SvcneErWH6fQlufyg+Emqel1kvquaOXRVf378YMf6eoVenOUGvu/ljviyD97AVDEaSymJZGX+v+Kf+sWYRIJ/JreqUPqrw1IQwdHKyxkLVM2Qc8JHbDVhHUK5bNiKDyDFZN68wBJ2fzjgBlT6wN1S3PEFhWzDEakq44e4RgXA7dHLEi8EbPu+VNl6tvwforgaGNImSGMdr9e30xVC4g+Up8M9y5ErsrznoEnBgyIM5LBIL2CN+0C7vaVtp1X7Goi0YFWN3BCzTr30ea8kaC8Cu88NoqPRwPGQoG6v4q8lg3Mzh9Sg9Ue2zdihaz/NCdKKMBofRvM5WslCKo6scTJlwJcNRkNEkGLpZdXNM/UTUVmwcnDoIbe+vBPQnW+sAc9x9OPQElmASzhRcjkWJcRmkY2wWG2YjAcS6tbzjmn7uEOPtW5euPQUn7Nw2mjA4YzBGErk3lfV78mwXTIgSI8vCihxfSLS1p9fcTFy//avhG6o+dJW/JEUWln/7tbScBXw/Owz7H7TcgcbPAEdRjEnaVrbnM4Umepb0Ie27CcsDHNF2WcJQJpyRrlZe2IvX6OEbkPYH/oPSfnObR+h6bhtPI6JdnBKs1MmWM4ulfr0pS69BDeF4JlhdMF63cRn2A75CclP80kd10sH8aLXr0QGoqwlkjCsK2KXClIQPCuGBv3DL1sAGMGHT/xSn4UqaIVoN1PYCySuoNkuleQEkilNEkI/WRYO6h0YyrzL1xKFSh+karbF+pxi/A1acpBvaaRia8gX0b5wAlS6OGTFJJd2rE167gtA1Fe2sfwuYAmTzTzDYdOVy41NaNhFyOsspnMHyIsehx5WGhObmPbNNrXagCtKoRKRETQqeuP46n/cfrEiRu+hBJHcMd1/VUOw+WX/FRG/wafpDTm8ekFxjeyYIGQ7KwscYKQxiejul/KGxZCIVOeWDeOSccwC1hucBu1pWvO3+b4MJw6o+ggFU6dXoMkNEr9bkOlYBYH62ImL1tLI0nHsgCRpb3/0k0DGH17zJp8t6w59vOMjTTcaMlRAbSTydE2I6doVyRkFPPAouV35Y/PbbdlXd8Spix6pW9pMm+4EUKkyTYGCukjJrGMk+G/ikZWw17GyqfAgSHjF1lv9VWNwItAV0RIwbf7fFMB3Qzlso+/ct1L/0sZ8fwvQHNIeqSTA802RSLA5KdxPbkBj5Fv6gYOYxw1NjbX8dT0t+itJuSRKBw+51ZY05JJufCbV9FXX2Av9+xYcuq01sVo4Zeq8DxZOSUj3jslNEq/jrUB2xtmpxhSOe71Jlrxhwa5SVqiCXRTD+usLtx9Ma31orzQLIACABNxLfgKOppeV5Tloozo9fmz8lm7F/IP2Ca+XrzFCZpXjAeuJJYRUyWpYM/xNjrDtChtOX8gGnvaYsAq4IKot3qp2hu2FE11/wlSXwhabux3xh/tTUZtIIzQVrUioegPIv3PT1NL3cvLJX3ry0RShovFRL8gKfXWen3UDPw20hD+JIa4j/vQRuICmn/9uxzfWijaWKcd+9NODOAVYIPXVPPJRVnNP5uhUcKU8bZfDBrGMpiwd6eMm3USLz5RFKaxaWu24UT7JyDfnQxWcrlLgXb7efo6qr71o3KL2tAcHQMTVEe0c1l+DlpkYxNcxWUFHXImSVOVfYMruQDTPdK/jQIr9EbGVWBv1K/k2IcYKAfCik76DRKzVFD81PTv/UqhyM+GPGao5NkInghfA9h5GHakbtTqdvSDxKVX+V87Y5U14ZB8tqxW1wV1AQJz2i58Gy5F8/Ke92Hb7vYdoSJRInmuoTv5iKQ53dLqtt62S5J2ibOgNZbKYQJgg3N5eWxinZ4RdbXaPKvQFZk1UocU91ys0WCBR8n+nRZ7W3UeexkiuziWy9scd5fn2I1PFLfus9auawsKq84oRaTJ5PThKEcqQFiaMPhpP6K/LnHw7N453vL+TU/pRKRcxZ5hlRFMjDBEG9uJToauml79FPiN7v0sNC/Av8DbKdVK7nWLsj66FPyoTqfUVgNYUEcRtkXKMmn9hoUEZkI7Zc4vtLpKw2PSzI/KDpnhvKmJkMlAEvMH0+n+ooPnKS1j7YYP6CGJRYI5Usoc74r4q2Nd05Dj+TtXUUKjT7V1MAsKaQR7ktOGegM8yJx+qIueqQaGcoOzbJ/Ta4faduQ4SuYPqd+BBSTlMn578heLGcT2UbTanWXeowkHiFHz+77DcK8GPxdWJL/ZwIx52SaVCiIor0mUqPdDwcKJCrExPLe8+EVdB8mQrtYXr1ZUy0mDKsRXGNcGa44OO5KZXGNxJ8OdiKH0rloFclb1xZ/9Px55oVON8rF5qUes8GqcKSqjm7kTaMxoM6rpG+e3CzD9UzXFZWeQEVJmi0YfBjpoVSbpqIeCWaI+gwGCIfIU83S+Sa3NiBSCQJlvaoDyynKft6SbknA182sN8Dn1TF5YDiJZKwW0F1CWZBGR1RuUxm32LfqKhZLJtzB0krMaMZNiC+dsGacG71qJJiCoQ5p98wOhDRGNAQmR1+5esU/Q51fsN62KpqhJXjRkouK7FNT4D3pzHXRFnjQ6AMHoSsrbaLs+6AlIfA+Xg4H+7715CXgHtCslHhG5iI/IoUyn4eO09doxulnO59bl3GRV2okePhJdmQvCcl0xsJZb83sACuPAPl9J6IwHmwXBZrbNF8KP9TDGoqh6LuZJkXXjYSGADTTAJHetD2M2vT/sIr0IwRlnci+yH7XD/tWmqXGFebSIH6p2uHhXrO4hpxkavEdF4+op2LXw5wt5SosqqY5xMTsKoQFE03uC3IcAAEtsr0hMJJHfFcj7U7ChigTMsj+uxaHkiTjW//WPPtEN86r74ovoAsRErXwNqa+T2xc2X0F5i5Y17Zj1A31hMyG/GHFiYvQRh/QywDcyaT5mQj113x/P2jJ/9IMGup6LPyN8DYZXzW+Wo6Uoo3nOV9utUJ3iK4poaEWIY922O8N/9YtQ8xKh9h7WZorYlwzT8omSsBT6Ak5ROm7GoFePPrhnzKs5W79gfNUIe/LsnuGiBrUw2sl6mqdfv6dG2vFJa1RIxqjITjCE5GBIzEGvsgb0hAZdmt7Cy8kNv7jrWuXwsry9p/uGPhcujXYSw/P8FvbeZ5nStsKhQ1UwzlOQ3OEuPqn46uoI4Hu6XIF/KmDJcnu90yb05WYUEPzH8GBfFGghE3B9dzB7KQZ7EoYisWf3gWGz9Kpbvfb9IJoHD0BGvZfrKDC8iFMy13e38tf2D+5mXmcDVVzUvCQWWXOteWej1CyA9KSOTO0xvYb23L++oaJ2MILx6eADJ9pz1hY51jTEf7NUKoc4F5Ri7Y2rIRY/sg2WmtTrV1sN/R6njcdfqnQ0F/1mL6dMEvhu/svDXIE8UIcbcq/wYN2jyNzFEIG0+c3ZuKYT8cQBrubwzd6YcpONT5bNVu+1CMzMRg4zfE85z83QCSEu3GdcdCQXM0Uji3k5D7VEu4/pijGv72Q1D9pFXMhA5K8RSnJOBfY7S8tVWykcvmNdJzPYABgLffdMf4uPVEnZpcCrTf1zjiIUmWk1MlYwKEcE7XOu3skhop4ecinfyYWoc0twZREvlLVSMClsNNiOU434+l7iePcO2y7858ZjFvg2+kChujsc+cyLrrMkxzlQHFcFl/myDRQ1BpZigKSZE5666uHrHGVDp/nLFOSphUoDdHdu83H8/Q+uTkY/6VqNA7PoOy00Bjvj9Y8ygz7hK1gzIKXgrIhhl7WVyeQkmeEuxfbPuuLphywBQmkiDJLSb7NFzH3Oj6nqomINRqrurhds0BuN4JU+Upjcdigzb1U0sTTx1CxCci8Qjjrcu15v6o7//N2nWrUnpkbXX9CY7TGnbV04f4LYKPUQQvXhhHuBRCVTeyr1xSM5kYKPM0nME+npJzFRL7qzm0jUNPiSwDCmBkRnLRUPr/80jvut+/vg4a0Na+uKkrrRBWxWwvjNPPEkeumn9gg7/AdEyoBMwnO4PeM+kR/G/twNs4gPbXe4Fq/2o4zscVsXnVDlOaIVK9o2YBpyp+6amyYTDf3LccE5ohLzWX/SJkQCG25kZMPKmMKkISYK+1NJq3j7nhD4KV6HqqlPZo4NigcL9FxtoE6wX+mvhndqW8pXa/fmdwlmyeP8IVx86dMZzOq+jhPECjqkt47F0eo/Azq2ofGz0sTqG2KWS08H8VfzFSq8kOyvZRDEWI8hQ+WFQL33H2haMbofF1ssy5e1jH3iTc3RHjugUcyQhn4mWsEKjMm3Kv5gYX24cq1APELDxhB9dp974N+Vge4UDPMvFaAnFKdjc+g0OTgRn59uFiM8+srSmP30BPWOvtFu7tbCFUULBE8+fNaf9SCwiEqbOetWj107kuQCkJEDmt3dB4IMqiiVjTeQYHNcXMDmYl0Io55sDu/BF4kKKkdn1sa5NSFhARoO576HI3GEu7/neQNyztWCfdqqyZLgfKnwwXQqAzbScZt/ES/bWbttYquJxLwF/npKyVp68jfBjID6KmFjzOa9aW3dmLC4NHtoQlp1cQOcue43Ixk77RaBYh/EIVE5O0IVx99xnB0Kfe01ZP5imP1S5mGU0YUTUpwVmlcLdHZvmPz4NycDiAF2pFAGqIqkBd1m2cE1cdtMxVZZoT0wpnPhoIU0OK9NNwZVqcRzy7jiyXUYnoPzkI6SmMKOxnM1cqk2LVEC7VCiC+AGU9Fwh6EfZ6/sr8wL6weF98AqGyrp3PpbF4urcPRg1mUme7fnAjqZadlXHRTsgZ5aXWrm863AjKjHFE0zCZId+n8h8QCf7p0ANjKCsDQ6tUhgSFY0QFg6Xuq7cMFvlWx8RqiAYOeYYnH9IxSim3WA8Zls4UWeTWqMEqhAhGF/7YyS0S0Mx9rU6XjQ0Vdq18LLb3IROmwya96xv9f2pO0Urt1JlsLfrEVS23WFa1nXlsRrt0Eizh0P4aTcwPTIsA5AP9zSpEvJdNcXOzymFOFMriXVrRkFX1BJO+qqplLEL3iisNQp6g9CD/wj+E/w5ElfVEjUagSgaWlYiRrEJ6VxbHPylwlTvUbkl8QH51Gai96YYTe6FSWQmkMIwwfjgb5qGVhcD15p/M9EZ0/PqnrZfJEZVu8gycOc6949t/jNfT/fGPE3tGvnrDCDeStIEyDOxotXTh6Vvo+/ywFfynj/QecQuRxuUDHjpg/YhTjjnsh5aPPqywu+IHWTlitOFf/UGzGlbnmFRh1uzYrgoBv1HOA7ChDK6OiwGkqDd2EFxgmoBtb2UmucCQUIhb4FliybjnxAWY1CQhJ4GiR/iBMbyRxusNG1SzFI3ad1sVBS8zTwfoRSNxz0L1Z65faNrgGj1r/lV5QcrOVgrsvCOawdl13PkdaulxmmbrmeXEHASA76J6IGwNpCEN62NnzuEqcclEobTH//GPRBr+aTC6K3PsJ3GeoNJNWYbWijs/0NQkdbn1uvUNiAVGB8spMJwfLHPU3PHCq91s9pZjOHEnKussBvKw+V4gcRJeWdUU5pz7ua+Nip8+82aITBpf5PMb2w3nNn5OS4cDVsBAp6Hb9UQsDKZ24dj1PEhRD15XAZhdFfIjuQwZDXjiYwy8Dk1dAkP2MTh3yMpYZwiR+MqnVN9SsiDcp6aUhwIIT21AEDYKzJuSkhICeCzKaUqpICmvIGE9SqZhGsDm07X70BK7O5SwggJGeRFvqDv+8s+HOhZebPDa++Cg+WOxXmgcGtzWVUw1jeD13SLihOM4Gx6fIdObaYTt41YSkaQAiRmERP88VeYLYvcUvLmYJJ2yPZatvTg5zrZOJjm+RNqlb+LX0tW+Bd+OHttZPTJfjad8y9mKlkXSSFo03kCbIBhm6S36I3i1360z0X501yqtgdSnYIz4f006xSNv6kIU5ReZOwFu1kBvXjZX7WQew2sjYTkTYx2bwT4KGUFVTagziz5P7/vtdY9wfFJPRwe0yA59L4xxnzUfwH5IthIZpfaCIAytoCHqQY3I557MrXkg9UrIEPyomINco+q8HK25IguZ8BJ2RmwmqHDcLpvzoTjmyTcVk7WoWYpTEI1/Ryx1toASzlgjU7x0bLdx3LGwx2DBAHKLQ/h4w0TE5JeZ0jlK5xrHjfjcITd7YtyBHP7hjVqp57z2LAof1N8oSQTXdzLtH26YQAOSqSbdSagGAQYw8XrZqOU6q/af8yvlmMvR5RyVeKijps+nii4CWtBeR7fGpvoTLJXfbWLue/h1lDc7EpI17CJs4qAVAgmOlgJ5QL4ma0LZdBgukBXjzXwUDDLMukWfj2o83Tt8Q56vtr4eCR8CO2jLmodekqKTanJ0D59c7YGlS+YpBNqPx4RbeNcaT9F+aFoAptVcDQzImu8lbXcav4pgTjyvoOwaOgMmka0NQou5QTxTTzoJJc8fgE95RHUw2ZQocsuKSYCvxSph70urqsZkoZgK2E19333DcrNNpzX1QY784ubUCiYsEnOzhFZpuUGIM8LLfsYSSeWTEPuBjolGGn6A2cskBYbA8bccz8ydMRM6Wrc4UHmWTALVsZswl+oKX1z+szHFnKiCScoycPkI7k2eRMB+WyuilgRWPkHvJOUaxldMkbPfEhAtInUMWavmaUBqNCZkR0ub4HYOyHZH1ttLYD4x8PWFZKC2AjvY4FIuqI7NPyWEtV8rbW79ONuY8A+YwgoDPEf78wmIxO8GlPtSqYXJ3bn1tdbD6cd/24KJJjh48tEn6+bKWiRqnbNMtz4+XN53WBpWSFf7K3j5wnkp4+PPajaTSwAw8+sSmguWms+GdP4TpSRrGMaLHpfDNTHQJu2CkMy1650chKxEvTQPlXoi4YNtKsamIlpPuxndqbyMvoCl6Qc/u1NEJCOQnalkKDbO5OeLBdx2vASxZ1F95tXWNETcmEnROi9G6mmmSPJxFlbRBmOxiXM9VyUhkp7L82a6ZPJfoAx+7C3oLdyoSHC/doljrK0/olkvs2JlimPVhU7s8iFilv9cnEKh8onRXgGjcDOjuQlWDXfOVFPiMyo7P5SCBWmbANU9RU4aPnsdj0pv4PylRIJt3iPfwrnFY+UvmuO9BGxJ8cOuw5kT2X9DKL0E/rkN/bC0zr4X/UicXzj0Wj6EMqX802t3mQVp4KhbJzbAoDhFa70UglX4sqIv3MMGsrQZTmrbg7zZCXyGuX0aK/JLchZ6JW9apceqlfyGFb4f02AGfeCZL3rjvkp4g+Eb8AzCdGB33vXHlT15O0R5qXS0IngaYKy4S9ugF9iqAHEBXelTPFcUi+hc7TrQJy+flmrvIwTYcFnIsqDZ6CHyPlEZ5slvUn/MqeJjhj38Oh2yXB296KF2p5piIfmo7A7sc1n+hPKtT/4cMKdnXjGElp3fT501ZTMiPWWlAQK/Krm831mqYU20MlF30FnvSP117C49pANFBUlhQ2YcvlqBYvwwtWOxdu3vTbSadzxq8u4u9O0ZT1hvDXiyPeI9e/3kTovveYkVCaFNY6hdvRBFNu9pc3dCM+pVkDasnBA3CLX8wMJaaqDHWSv3O5bXCJXTzoB52R4Nvk0LqpziqkY5S0OLbTHyG2nuEXHU5GE0wWoyWEB5oZzwaCcIWdDCXHDRgnP/cDiGYmz4/jBcrZULV5Xwcm/s77+QRcAsGeiALh1cRT8PbLptiHpxZcK3sHr/dyIU+ybPDTuZOBW8ZqJ0s9X5m1bPP3rwfGyI6Zrzxd6WTxdzzNhzeJ/W3QixI6z8xF1nynTW2vjboi45irl6RZkSVp7dxPUO/cwiAa2ySmUGb3mHOQcuSURODwuft6om2plm4ecCO4m+S0XNOYdSF9OPCWVv4SihIM1z6AV/J/TihPAD1ZFWIhG0A13jVuVayhDGNaQrbt4hM7reLJ4lSLu8SdaRvX+2E1GZAuDKhcIBLnYhcIWvcT9wTQ7LtEQh+OEShamn2cZBEUJjhwpNH4N38fDU+zQxySj1wSZtv1jzfNg3H3YI7JREaBR88CUcVXecY4ZGTzZ8Mz3qi/Ou4pmjZW0zeDRTxkY901Z9cjitZ9Jmw3NkwkJFomwzcGQiqIDA1wY5mM2aHfZeJjnUiIQc99QRADdu9ig+hgNPnoXK8lo1T4MMcKyBfEW2GFWoHl3Aevlb/obvswYYIPQE/aW5ySt3fRRlIfT5MiVThl5jqhVOJOo27dYvbPRNcfZEVLML8zrOUJcWH7odXXRYk1tFt5Z4Eh8q4EJUa6AhMvUBsfaSVGkNsipuS7+Mor5nPVhQQgoUiddCQsolnZiWFNIo2i1abBqiOfx6ogezvD08C1/20UVgA8nX1mT3mgzLSWV6sBTs0WsiuWabFMDSYDDxzVACwlSjPPRYkKPgGhNZHDN97R9RjBBlCJOs+QMXdOFrd0Qpr/IIS0xie+5NU4JU8K4WqL4qFSUoWvYBuGXiLEr1pzd5XZ8+M4gbyL3jGtHxXwDdfzdyl6Kxw6E1TV8Z12IjokZhK5OouQ4UhlKQl1itZAA+cRoMcjnFZz6SLKKErKTBGTOxLo7Ex5SdBQOzkw0DU9qlfWmvoSwxMSTdIqLeu0U9mkV5mVKY/sMWauJahpoFyYZhYmWXOip0VejKXaaunDJVNgIN8MOu+xA/nKNoQWAqZ9FFEF8dGyQFkpyyx6Y1wphSYrpdQ7jqAIK8No+rNRWczLi/4Nr9sUFSKnVUUugmM9SBmLZTB3lxqyIABEbE+scGxn8zdFgqXsntBqypywaASsaUQK8HoYA7c4uAaJTK2Azl9Y2ezAQjjTlviApG8x6Z7NmT6ybe0gt7V2UOwxBchOmE79YYa4f7oDRvbdEH4zCjeJ9i6ux6snX+zAR2SvMCSzvICkKDFrTF5QBshqpxaIob6JLWFDeliFIte5RhRhO6qP8eBQLCZe7DA8tx0tG2Em1XBIeO7ovL37OfdG4FyIhZXSz5rx0G4leQycgZHiaTmv7IAgYSuy5fmv1WL/ep4b2nSPt904edXiAGhOBPCwfUv1gvCuftAuB7wpRgnnRGeMV1K34YIiy/aVE+7sXxZInlDVzy4FKObkS7SAIwGkOy3RWQGSomlNQYgHavw5V/5MTVKnb3fXMp1wnZ6JUmgFTDdJbwLJriveOiZC3iY6hVtQFkjnVVGEGttC964PyzjcB/jvFxbQpbBjzFAX/z0roXX+UcGHsuF2bTu32zI8uTpU+LBjIgc8/lI8hspPTJagiEFk3UcxPT9Gik9rrEKu2eCykqXdpPYsF1UqEQUQnlGnRPxldAoIcPTrUGwteokkjZshm9eZskxRhkMsHjCWYLZUTU5zq0Frszf8+IDKhob9hbnL6Ex8dtkr4RzI1RFjCQfY0iQS+7j3g9wfkfEu77Hs4tiaVtqgs4iDZZvf9f76RohRptE3uagJmRoSeWDOO2unyYnSGRlIDbzcJhh1CPJtgAxX9udg7Fq8VsHMZ2OA5uGCdkXCjNejAAyomRQEkfOUzqJ/o+4cnc9nWaRjAdz7zoB3bKB+vgRTrQJDIpRtf5GpRkVUdSB1gxSwENts25YJOrKs6gNmKQs3RfVPDP35mYe8ra1jBMzB5KJcpqxT6810T+ZyAqgr6vJhambZ9Rk34p4ZYKVQ52UTv8uKJ2bLU5qebXcQOmba7ih8sde3q1BW8MNA0RAjli9NhxP0BYLCYP7VJSHiuq9GcL4hEY8QRb5gkS/OI1GhGbNKL3lCL0Uo07R2OStdAMsdvZCe0/GWazQM0U24oMBjt2c+Z2WZaaHtjKxeBRlxFxa4FCZ0CUiCRdb/P6bMpdq4EiWtgKs2ACn0lTcu9boopChPA9HyJhuj/8agyFTZCBXyHHEkNC7tDmB06lyLdRWJLG3WyHs4bk4FFVYNfjFOJ9qlVOmKR87gaeXmklsHCHwctRFVQn7ax058ZERKddsyswXygHZYAoO0jsnYPG2RdKzPDBiIAyy+h3FPLdHmoBL4KDgdOO/cbZq58rA+A415+cx5eRHxtLaGN4xrhNKNiMWtSybmH/QVlRvIszQnKf8nWYw8OLp+oiHcK+IJDMCmLK50WJ+e3M00aLzSW4+MY9poT66GDubbuQH0CmKiIuAX65C8GWXDNMalbRBLUGy6pWl0qQ183BBM8tKHjBcBgyvUlWnzpnonnnw/JXiy0BeKwggEj7lZ6L6QqwH+ZePpjpGfdzoSFqiaG3Z1RJ1BROnvQYsQ5xTvwEre0HnJMTDXexBBujX4HsHB1AdFr5o8p95r/9ZIGvGNqwshweeAbVTGfWtNEY9Ynz8ALxGpGExVUTRe9RCSluxv2I3DjE4eSH46krRTUdWqc6YLPMzsJ2D6oiMviqjiu3cTUodnwUOo8+3NsPyqIncL1ChcFl6XY1MSaloeZTrysf75D6cu1flq5hCceA5Yd0KFkoD3Gz5MpFI2tvijEDzOq9+Qla6SdD2HIPaA3kfCI8cGkeFWrveKmzmYQ4GwFl+PTWiBqzKh0IVCR5AB/ydWerZ26l7ouXeKXtGFjp4e3caG3U0y6OWl6FepGN12B90a9If8WRsu6q/tN1+Ruu46xPhRBfr2qZqI6CS5/ufXVoAPLZa444drTx4rFy0PdbNGsuWv8+ztHL16uHfCnmX8aNHkcJkFmiGw+rX1lQ6ft4xSElvP2wV7byDpiBBVbSuIAIYIBpo1z2zKseR3OAqVcIuE9ADTpSiSmWqMEtWavof2ZkPNtZeEncywtnBeEvrvCuMOK+jN+gN8EG/H4NmM3xfMuLRrflUxcQYVL11h0zBpi4wrC0AN3aTdMXGTrIzvW3Y2NFUshpuoTEh3gDw36RX0+fsk5ACWehic9Vy2HS9duzW3ETVp2TCAJzBIUjI/kPegweTzws0RkWsDg4GFa/ykzyrnsFmsbVRGL/LUQFOnz20QdDCtwZjDvhB67HSc9txGtLd56OYr0AS8eVdkGCXDonrexNpNvW2Ng3WctXP/9HDRZg5MOAZc7kFGmSXbMT0tsb6K+y7JCh3uveN3uSncHdf1xBlHQsmWvqhDi0rRRasdJ8tO/OILxTbfP6uFFJV+FbYZrqRWea+I/YGOtWpGK/T6PuMg2B6mIyVNz4YslwlGW8kkSUpfWz2gt6+7JNUZrfDPgeIVwTolDGa5UU8v0GZyFKPYkqXCa16+xjy70RUwI7vHxZlmS0EudkEYHDDdG4B9Oe8dN+C9icpGVcOaIOCN3MPLzFuWKRvqEcoveT9oYv90M7a+zJjhxRjCCAb2UooablSV4tjmrcfT9jGYy53lr8GxZ5Bh5SCrrNztFaAS7SioFaql+7JFYvigpvHEkFOcdQwImeFtFDGFgto+iUm4PvoYsa+Zn9+j2jizqCyc6/nhKg6fAr3Un8O5i98iM+njIkGFxNngE+gzM9U8kmqVEsOWggGy4ujSqOpstj6k4R9EHtyYjbdfkAEO4m63606fwqvz1kfczBVvxbMq0XNYkUY1IQqZ3/QWQy6/UJOX6vdthmHkm0N0CWHaTfqjtXzHT97JOwEH7zMTc9eb0tE3Wu2Nz05jH6UXW6WcnF8l6MCVrpLNcNMERlRWjx2oDBHk3rJYlKIeYIVpVSOSu8wGLLamrC4PL8UO1JUISXwyVoZIdiroshSZkHJbVGCEoducqi3nbtk3YqCO0sW4S+MZLocosbpUfQp6zPPDn5kPQ8lrqc/i2Yyqgt1PSYreo6FgrvmMT1oYiSpH6i4X6AIMWdbC9ORmhGF4xZexO1oTa2PwZABm0Dw7cZPzO55/2ndn3MwwkTqLUH7deILoXpp1i2YrnuLtCSqCLs44oWxUYnybseOS3Ul+w7AOdcvcZPLP+FDHpLoTs+FY6WlZ+UUgvYb0tlSjJvsVgOIDyUKAdCHxLWwpgXs+8Canv/020vYbkXGDD/uAp1kH5wKRIvZXeVdZygFe8fzG8nu73GlWyadOVJFtcNnwMTA0IgAvnNHtjRA8BLbXQWtlbGsgt0dTVVDqsB+//MXoeBOnb7Gyz5mEe83FPSaEp4H5frHsYlAgxErjVblPcm/ZXYPFLUxz3mK0LGmZzPknz57GETmar72wltyStkDDxogSn9OI9hh8LvSydx0x5ymrJIyx3BRlqMeqMJIH+bpaumwCBXzUQIANsK7njqY0CVnhes+RZfKMxWWrNoCSUJ9roSbmpFSoe/Px1ev++lDaC1epwHzM61HMl+dicy+30sV9r0gPe9HixtupN6p0koecmDhuUMnCN3dwN2dwHnZ1HQGtlIv98k9yIxR0PC2twpAFkjWB8iQlIH1B+CTBYrdmYLF0LMQTiW2yAk6LR68N65uZwZOUB04Q4+STuhSISIrdRRK43Z7l+8yOMWHlmx9Y0lxUnUssl82Za81g7uqT3U+kt0F1SdpCOycT/k4cxcm4DFtxnaNynveqUQZQjEFVEb6k7ftfLNKJ5Kv41+WZ++J8dlxAUc2b+04RcAMR9JaY4nNCcQuFbDIqhtrNm+fnWwsILkgB/JZlNSDVPSrlZXXhqdZHn9P+VX/O1chM+Fgo10N7e2U7h8+Jj9rpSRl7mD4sJjOSdk7vBhd9rI+2uW35dFl0CMwhngxg3rB8cXSFV1r/gEsQ2qoj3szpZbTHzHhUFD0LfaDXPV/CWIAvMBN6uI5PDXcwEXjszoj4fO0n45AxK8zw78Y0IsZS/2sttOzWWdqmXy5QKwPckSidvaIkKR/f6mMRiVrv471ZPwztcL9zUTUGc9XIZlGxsKNgQRZsUlnFRxaAtMrWnxKJH/XTkmsjxxdneWgfQqV+IZBi+eNlKS6nTQN02CKcEvqBIWbwRnUKRbkCV3TbVzGK/1aj9idW9TY7rNyUtmqBWGSCoRug+LHl2RQC2dV3JjpPk8DALUqOWx9A+jWT/8jZR+1qyJmf9PJXW/+Jli0nBMHFeJv3zptfiSNqFaTgeBwG7lNiHF0UrM/K5BynP7VZTRseN4mKizSHZDVJfB3xppMZhbGNauFKTzbPcepNYQHiPSoazT5uGTZQiXT1lxYdbTAc3amW+2Z1v9OCpEV8Dxnm9boC77xk6lPf/PNaSMvFza0UXlM/FZvRNwFblI51UFQn8fVC2Gp3Zcp8WmJhrd1DeHEnYrTOtmnaulRyUWgD8iM4K3RR5AP0sLNhHnXVl/0cYmnLYRufky3pVQD2OmkEV2oQe2wT3eTT6+yOoOwHPVD4qOWD213nWfk9sCP4WWEHFSEwv4qTaMbviqutoyrVmg7VYAxt9Oj7bNYxtuhxlxRa5iBgcdSFWi6r6PKzP91hPfenwcVUzcuCivKa3ROUZ9T2dNZgevZA2oTXWuBnPbh/ATwBBN5O4PJMKqNj2d23G+baGr1nbgYJuEyf7XKI94tjDVM+SyxbJccmGAdJSzK641YCU5Y0AlNtiR6TTKvySDeuzB+pnojJbvwEnDDAFPYQsO1lDiGE9qn62ZwIvWel0S5X4Fj3Rlq+UzFYl+BQU7hjjRoxDCQk5q1WJI+SYlTUGVSR8VDjBiFc2dIJ8vURRnIlptY83CcpQFF/wI8JJtAHV3Vv+z51qt3S62oTEetD4nWPoU64b4tBxTZSwdd6GrYMVaKG53KrGz1RZA5z4rPHzcEyg28QFL4JmHZLps64ZvVx1/ySnW3YymdEA/7J6b0f179tT28y0lPvuijPYPVC4Kp7nq5KRAGFkDy2XVF9+w0boFBsEpJ2NqBR0o67AyENsMZL1DD2fqPbwfU8H7WPgBzpCJzGHa9a6KiwJWm5aj8hALC8uoWn2cbKpJnWpfaS1isjvpLPSEiTbIIWSvHepN5YIqdyVZP3gYCKkpfg+uKJl51DeEL18r74ozS+nd72PylwPjep2VJKcp/v3JxpJ4VyzbcumKbDfPlWYi3AC5OfFxRIbRdTAZiVhniMDV1gNS8wmai/sQvklBzcuBKabugWYxd/y+kmcmNUo3Dx1dne5+ftqPGdZ3JyetHXx6hguF5cYa+ba9XGFfZmSIY+4HkZgr0bQAlfrXDcGbkDvJ6EuX2v/U9AxKqC8g96Jzfqhdi6WUza2NiTTxdETwv9SXdd2t+wKfiviQ1RHKpep7I5HpF6Hun46o48Y68rD+4d36Ta0CGzoWBmPNTOnHNPlss0qkyuFge0IXrySQJb1NraCg6KrS33R/RMqk5NS+lvlpwt3LUyCAvD+eozhjENu6TCv3G3eL4bwNHXwUwEWXon9aAQwXL61CBmJZiY7ENl6KIX5OK7FtqHKEOmTDFhLpo9RwPXq+UzMdLHg1YI/zuwsjK0p/ebBVb8xecLp1/7QHRRbDcgnBrD5UsAmmaa5t206FOqKQEijdMZ50LzpG6HYqu6xOl4Rb/14OJOf8VpjkBokD8DHKSiazyWcdCFsKLJ/wTYtm83FkeSoLdprl+6YcabKtnVdF6qfrX3arB8DIZzGS6zgLbllbU4NWYQ20eB+9CZNUPGY9ldhoStguY7a6vGh5u5NzIBzMwdHCzcGCDo/ggzrAZTlfJZ2psOzeaJl5A8JF3HP6OlQclTHYapKzX1SN389JFjTHWrQzxedmTbFgG7uaCmSMfKJ2G4Ik1NAiOn/Tby0C9P7vprdjMOqfIH+1Y22IO8pxr/xbkA9vqPqQz/qIXjVJ5my2SK3P4h/QfqsAec1PSOBKBdAhh6TiP6kKQ8C8mrTL/rECKSHkz42ldkCwMOxyVlTHMJBCV45IaHkqH162D5OMXfr2sycAmSE/ANSgvTW2vC3u5hJ6ZLcFe8GYOQlZPp9ZJZ6T8IrTSPkwsiaGr9NFvLj9fTQyEDr++YET5JOyrHSqUo52yDolx4IsLHARmYYIiDYWfGzE3R46Zp6kl30nm/c+7pTKuuQ1T9RKjgRopKRMo6D+TXEVwovRHgjPNnHzxs5uf+6ZseqBH+dyv38saN6OUon0Lv//WLwtuRsCylOxBhXVuUrdftYfReyZ3QSGXBfwqPrQlEV4PIzCYqfZ3Vzky7kZZJ3e3grM4u4CMolS5Dil1aXan4/vj+6XC8OuW1pNABDWQYw0DEJeacReUH/0ionq3knRMqEjvdlx9yZ1r02/ASe0DyLlR9KA3pwNEJqA0EC6nYYVHoiw3elSoK+s0zib5lEhxq1Z68AFFCxFAZHyJAu39zQLJlQHmOTjM7IQajCo3IoKivSBRJzap9EX5xhSyPt2YZD9n4Jy2D++ROJoOjyyMYYbqU9naB+ie9BUlyvKw+rrOhTnG2ehluPVZ0MaUuAB2ipb7ByM3hhvcfNyHrOZn2hu0jC297M3iQnf95y4zf/HviKbGfSZg1IgswDeRzbGmUc7P1csUHoJxBVtAdTckUHrcoHnI3sG+qTDEr54yAcJxzUiYDuQ85UiPqdrLqAX+ZRd7OnoO1fU7CcuhOIJsEZXxcL4eDsqDk0i0NkhGNefqPH/gfHcuSG/4mJlwmFIQ4AdUCs852DPaJJiNA+Angt/3NYb7IMzo3+SIMSXRmLmrGujG7Ha15kwCJ3rT9sDYFrQ8b/cBtfBG87I7c+VICVuwta4W+kmXztaQ6gSSVp6G17sYY8TUEj443e2yPzJfTGn3GS4tk7dzUW5JPlF3t4xnNWbFl+6m6A2IiTKq5wRQ2CoTX7j3879Ftq3VmY7OCGJ6EwZ1t4s3F4HYeDZenx38Ef5pxrYH50hGRemCO0qntpJI1UfRelkISrDxOzaJOPELBNtb/lsMF7bB69Iy7zaiZHKcJvlyVZnUDirCqNciWmx4WXMXBs6QI/g7xcVh/Ew5G7BbAHFSkk5n9YPuJQ69RtkEbNjKU1Gat2CYCdF7q9W+VXa+WqMWVUu3fjLc1f12FFwVXIwCNlrWU/WtenVy6+SXK0UYqLuvJTo1hEmK850v8ChNwsw6HMPGDttJth9Pucen8cq+Aw4d3BGlY/VpjfemD2Bcgd2+7uztPj5q+0DpO8Hvkxu8JjqEpx+R4HXwFGVx5IOD/U7aEUgHryrozgXk7g5pezn+R5Z4KJqXIo32l2O8Ghq7lP9c4wZ48iT1Vib+8SnPu3q2PlK3I4Hy2vpCPo4LXQRtMlM9PkB+/juiWASQCf/Efm/D1IUcnsxIn9k42OR17M9MhH0lsj3E7sQ56J6U+u6FYz7lm+KoDXNBocBBy/0Zyw/GlWX012DcnUW5fYVJOjmDh5HKbYMVExrJUDjbv0nRRyx0Fo8YPAos0THT8AYM6uXqkYFYwah/rTyVQOIt100H3ZhjnBgvDVGwX0qH9eNsVPsYrGYCbJ3pLaNDpYasYoB/368bkdR5AnXu49YS+wPGkUoTjxZeCiKmrUXXKSwAHTOGmzn1Z9+xh9EbgGTlptchFNLy/uS684RO4rBPU+vUQTuCYVQILufPG8NZLtm3XNsL0w00sm0vjLzlvK2K55DZrtVwnKfJFk6CCh5yiNE6jJm8ON1Htaj4OETIp6nptHsbPkgYsKXcWWttaXy/J/2/67n8WhfoLtJWgvqsCAHqwfrzn8mTItF81UvhA0q6jNjzM/cd1PoUKHMLacjZMz0Drx4NOX5yFkj3lU6Ys9Biye3q8Bge0328h6v0aN5YWrNJl89B8GOxGzmR31YfBN150s9CWbhCGsK/oyzf3rdj/mgcikuyQBAsHtvrHUcRkIJm8n26IP8ZkpJlkodKpz+o8xOAxR9ENzXgNyHhYX08PO38piG8fwjSAFsO5WPorps3EJOsYYF4K/usv6poo/8FUGTm5YmHJ+z+reDzuEcANJtNs2FAC3ZYEwFamY+mDN5Wd53UmySRvGYHE41X2ZBsUSOwvJXEgWL2O7j9rpxkZGm5yjyiqHsBbY7EdVbMnVM+fiV7E24W8sAY9szGUAMMRjpOo/LCa1XnqFvtK2UXOscINHe1UeQKrdQvLhNIYKeziHXW7xJ5ykU5FO78wFSPzg/lQj+91+yw2TYM6yABqoX9mQc7aMoR8iE2dpgnfFbqxH9SjncKec/VR+nsXBo/UK9KEDRMLQXgGYeCb3YfE7yMIpuRIsbZM0GQEfXS2JjInY31Xwtuj+QVqjyWLmDZcVnQi1reVbtjA6HVIJesk9ocTt5V0bjEBx/lSnnOSohtNuMoyQeyIIj5/14SGrHiKp56VxK2ODFC+bxSEMQzR2RsX/DQc3HCm33kAc6uLZlJinKc5tS16fp5RSbaDQT1Kyn2i8isH+PvA9vA6KLPSaJOT3nHobKjTTUwvvEzBGnWQcGmSeS861RitXSxfnsnTIBRGnbip8auO862/+JSynq0ryY2Q2X6pxGeaKy2JH78vrjz1cImqlKOpvh+GtMHhAkyaETolIE0XI5vy9S5ray8hXufVk4m3GiSU5fiFI3UW1qnRPlHHuS3VIQASboBMzBvQlYx6Qds10wfuxUTgR5K//NDDwIIXoDxxUgKsqlyXXOKJbYzecbBw5uH+E2x5XiSjR3NtRMNIZANSeSdXRVG1aIggr/WnlMbSqPr56zRJ2p61866L9bm+Y1jFS31oe3ZSebFY+tCcco2eYfRasx88iITeUGw2IuBHQBVCibUxsK6f4ki7E9irDz8kSKEB/zc9pZZjfGxBpTommTc+sf2pp11wvbMi0ooQpV1LLSSFctDvSiLx/R3FxTRIOwpKYZcxCO9POo3vUAq0sFLI8/ehBwaRYFKzk+eVAjs+EF9BCwFh/BSooBdSfaI+sXCYTqHF+IBUeNbO8yLfcoAoaddgkZVyD0bGR3S5u8q9+trv52ltvvsJyQX5o9BeJRadqQ/VQULRV8W2qVNroagWuiGXyudl5LJtK7QIX46jwWst58Gb97/lG0lCP3u/Y+IaA4RHwq+7NnPTm7b/bzAdALXbuAlCl0s/qnQKGjCRhntA9OKTR8TRy/l91F+zsA4lVKKVXlCAKCATcK0ty28rYY43GqgD1LsPOyNPRhWojkys/z8qZXu8HxaRKOne5qDrzTRKjEPfHpBNkOq5bHXGAsvKpWddhvXZQhdvsm70VVArxenTa2Gw9+PvVDHMIBCWbfs60Bt4u5SfOe4sGsa9hNu4y6ltLOIc2V/bB4ZMYQ4OIGOcDYrlls9xriMWs2ewP7RBy1wc/lOZ6ytq/Tbmx9uLPxAfvWpeC0dUQ9TZ7W6eOMHGnuXbOKXv6RHAzYJsUH9EkQ2quuN6FmnscNhw6jZjQGZbZklaFCiE6BxPPPQ4JTqg3voSUYiVT1V8wAIHWpeJDhZTrfXPHFMuxZsRp4Iuvhy1aaiXaLaTdKrjO+CyLvVzoHtTkkspSylOhM3pmFaQtLwEHCgWKRDVjt7Y+PgwuK8W40qB64thn/f/eiZKKIADcSPH0lT5iOv7NVrikmwld4NljZMyDrUHsDv2Vr0CurK3X71PjvW8iL0MWga1OFO1zVoIv+zpMzmVcVmO0eM1lExtTx4/wFgXjAu8RM0qaCQYIgfbdIUiJTx+TSrdLJeTGltKSDiZA4uXxm/Tb6Q0TlEKke+geui+Tp25zJ84T91w+Cgkt7V9Wmq4/SxyONN+jJHWNqC0NjLHO+WBX+mlY/2AdD1Vf4aSr4h7CQDGGiWrsVXzbhlO/l4Zin1DYlFj8LIa+9YAtVCj32cRFAJQMreXrhdiVPsvgCZx2NY1NXALti3o7u28wblHO2pAFyd0MP4mL20oziei1Pec63E2tcdSfkGF3kavdclkjEXsix+HZmKFxnh19/oD1C9mHmb2j2wV+X47o/uWOSep/F3WN1LKMexKD4UNvLUwHY1KK66Bp0ss3BjrWGiCOSx3M1VEBSLdydmdvZ60qhSj9wxcSksbjumvYZuqf+vdIJSnSTPBflvODy3dfMl6pqrfunHfJdTSvcA60PEmIWs+W4acH96VFt6JqcWkkTo/lVZSDnvdFs6w187hVK4GSZ1UZ941KeopZgQtV72f6LHjPE5qUyAop38ya2YRNTa+FaUkRqgG02L+Tah36N4eL58PXKMvXgqgF9uAQzxhW3xw3Raod1khVsiWtGnyi1Hb2GM1X3yGe1ronM8jh7Zo4W4Jt6TxYGNop7toaXrJ/HgQIXyAObjb68JUF88Xzdlufxu64d6zYB4fLh5vd1tGBb4jRsz9vzvJq01KiX3xbxGyq2iXf9941Q47TOiw+dQK4CIg+YBKoJny64AUCd9xJpmP4Pph2ifWN7lL8WLCgxXLkCoIXFetTiAI87o1VHKtguCPorH0IYHE/1nmuhpxGnSv/rJcNxiv/TSfvettG6CbBB/ffSDJBCKXOouz5Zy9xAB89JoJFK852lJEIv3V2CE7BLUijrfR1fvZIJuUWZ5e/QBNs8nQPtHtWeL5sdJRjClAqTRRJbzJHOq3IcGOinuaWAgU/RKwLmUq/d3IzCCE0MWDLFpQQzUd1RAaGeacJhi0DTNHF3M+3wwD1U6KNcSgaULfQfVi1fEbQVkfJrnqAz5VgvFhUXUdPBl9l7OwEDBzgAkluI23+vUqxyNkyL/dLqYfgfu1Tfj2TEz5dR5vIuNgvqJl9EjhYMLLCCY9DzhtTPosyYlrROhp7Eptuu0PDmqrvfyh89js7VAt/88s03BGTBc7ZlPswd79IckUmLsTm84OR7liAnWp3hyh+lQ3S7CZ9CGyz53evDOUiNvhwzB20oTluhhdhnx2D1YFxfYAGpTvpklSYdljS2xzIoNpBnfXqA6lQdtaMBru2hHh3zXMtuc3Uf3GVZBsj10DikZOvEMa4Dn/sLhRzdSBd44S3xQBAHo0LoEqGtg3YjR24mTx4I7nIa0dsbYCIGeGGdvJ5Zt2QLekv4YmkYtCTnrMaV61N0wvXKnMaQAU/1YWx9naNLkDapIor1rJLA06t9+iD9EfBDyc4vGDBaCcURseTxGzuD3XsX645j4Pc93dtgNATMxKwSsMmRe0pliM51pClrOnnKEufm6WoiS2TKvAxF7Y7yZbY2PTZTj0RUsi1+NEtvbeIFarF8WCgInhW7jMlkqNhtltPhC9kVvDsYw1PANDod4XO15YKgbj2degsiJcGb425ize+HMMdvtB+vJLYuORkgAPpnXlcESUkh0+6NVeCNq7MCSs9QI8f5MDVUzf9pZTqKzDOUOFtSljgA/vF7f79EjeJ3ImAuFYMzzmse0wI+5LIQWvyZ8tjyN6FbPlNlc/Bc2mqVvmcc6X7t+qOaPxs+cFtutT3FSyxLz1wBcuLiFpEfoNgFJoZk4hZCACNO0H02rg0xxcmgEDYJgbrLUU7UlIvCMkK0b0hGlMvQ0BFYE0D/1xHAw0m1tC1pmBErPnH+JBYT2hdgnSIaCmdZhVD35jwbfI4Prvg0HpyJJ+FqVw3yE2fuYqW4k1rFpE3sA6a6iEnEd6lYSiqq0lpsvC2nZoTzYreLXHZyrwwh5jCqomUuZ46g3bdXWHvfoaNO9BHed5BpEQ1btMRgAgGgC9yEJlx7vy7eEcKBhw4n1poGIeVI4rC74vEDFHrhkEZMgKmSvV4y5hmrd3JrCoMBmLKf5Kxpw9Buxl+YI9BrvXEtR2ymXpKJzWWT0S3hdDn31BSr9El+npxuR/plvj9+ujvRCIT+naKokZdJ93DnyRWoxURbXdD8i23a1PWekHKiUuh4KpbPuG+7QWEXmUdTGbsODNfrNj/PYM7+3CNq9Fvma+vGKDgIubl4ukv1HvFuC9jqo1Oj/xfa3uXmAxPIVqh7lA6sYO89jTgcYEIk4fdYa/jDy3btzdOFpRKEzxfvQ8Qe+tHPIYDA/+PLR/vT8aIoj2boUw9Bi3ls9uynO/mGR/u38JKwOiC42z+BdxgzU2cHNRoT9YyaR4dpjRSaBQFJS/IgPbBKNnyLXz+glStT3oa6llH5T/rhOoT0ORGryI/QxWyLId6JxNwesF3MRBUPHB+pxYtD63rfCntqwtQ4BCGxTv+r9x6Qp+VvZiJBCpLA0QqTtVoGKY6DUmMqmk/fKP3hcAgrfy+SEbpVSPXfsM4LcUOkdqaPjXjC8wbGtxmxXkmn/c+a2w6jK/wpn4tTpkjRGit8RuWZlgmC66VOE+/YemPel2CfzA5APu3tK3PiUZ1wuN4KskYQbf6qDPqa5ONBir995y6tYk9C3X5ibhc4cvXzxsxFol4gG6sLU3PqqTJ4yKYirqtO3Eq5Av1PwAww+ethQEQkJPRi+DPr7t2qiOYj/S0xWYZnzOVScExFv9g00NH7wKT24/gJnhzLKgwd5kEKRrthRKawlQPFwCXQhywbr3nF9nCPOTpfPuG+5FDl73iWs/PIrNRSp3QAD3vY2FYRILLEn1LeFDkkyJGKPo5DcsSat6TYIByvaOUdBi6XANHk1IDI32o78S3M981t0jZncPSEm6PvX9I2AH9nI3yeJy4b2SBKKhVvc4qIWSoEvPFRZnPxldFfaBcymzwOS3pWzcbcAIhmD65xw29rbicFMzhi/ggxZCAtlagrPSpS7WU556tolnQLt3qglUx3m/LHU6yQg145HEaBm/nAX8C2RXE+MkbDhL7Z5kthcsyyTAk/n56Cj08sX43v4xD4ofsThkHQLFGgueFBAaotTGPhtFrrJFnuRFq1g90oGMH+UXoqgMAZS5m54B0q5zm8MV7iHXS0QUTSrwbvh7mgtc/2vEvHM9jydJzrX5bxhfakZffGezTbV7if95s+yarTSX+PmYhXKXejZjMDeZpon3Jgn35bHKz24fmlg+6eWLx5vXM0hs6y/toL+R8W+OTdbs12qgoxnSPXnK1k0QnMx3+7jqf6lSsf61S3wP8kMfppO2qEWu1Ja/FRF9nXa9VaC6gfcPSAdSm09rHdxxCgjmTjSAR07WnGyFPZQY5H6utZKLSMExiHX1gk/2mqH0SOSkufq843HaHiK+hYHqcWRalzMMi027ifE9nZOyq79nkjb6YuAGkkJunMoeitdic0RhN1PA1TdCAqh2ffJt9hUsYt3FA9nvOJd+LxDeHxVlw4Q7YrwbZnVZDab3cLKU0D5+itPohDnHvIjBOlYD3Grd93tcAH+wX/K5AoJxJsEucnqjdBKczPox1Kc9FPI/7AdPSaRchCfF38V5sntI04BI813B1lKvhhShJu8zgtmaiGegXoH92tyY04vPxwSCVJddFxK+imIVbMOmpsK1Hm+W3B4k7D4YwXu1dR6at6A9IEQSwqmZbmhTuaRkt32+ntSFS/8YMBnhWv3DFmQzgeXhqKMrM+fHTi1ksWRco16DpRgncGbMncVzaBLDHFYoZZVeFf1BvgtsnlpzmOmFCML1HScJ/RGQQpB0hwRuh4JiJCk5zsJT8Y4ptUABJKKXKONDFgA0QVeM7hb3rxwRWSl9aQB2qMJXtFuvSbWSb1zvBe9DCjOyFqp06dPT/7R5uQP+TyYNqh6EUrO9uwBVhty/nrP/vQFkJ1WUupvmnkttBzuQROUILYlAqx6FkWVOyMGWXaPBaBJWPoAhvbxhw771FfRWKVJ91sHBIWhIzQx7PqgfPuavFR4B2M5KZ50e3qZ3MREAnNSLnYB70xqpRUPei8xfyeYp4Rzne3OqrmgTT7oGvpIF3uor3YqMLZD4n0NSFym/yp+QmZpGb8rCLLlrB57PbWo87j5CIRxVoU1S3pxNyr/OZDLYEo51s4MbhxUK9EgkzJZOilNWp5scL9U4USsBnuTsZc06tYIQqSPAlGwD4K7k4wOoo12G/KaeYKAYSuAIU/fhIECxXoG5XyWEH3+AYIlGhZvftHdzEC5+Tyt6uc7FaPTbceZtzfapSWgTVYX1PItbvLcvFqkhfBIuokFBUbJ+06oTEhsgx1vx7Rk2yYdVmXUoIBp2Xb1GqYpCysfJkRD1Ni+m7SchH/XgKsP6IbR6wz0zDkZgUU02KsJQF5oGlcbjiKVLm+6TWqSXJhaJQIs8Sy6R0p7vou0/rgzGcPNymCvSdPdsn5BKwxCoHOYyqohn4DbZCadANKlmQSv97pp9A9eqQcbkQ6YMPTvNFyDygKkSNsh9GdsT9I20ezXjwphaN6Zl5sOljtO8VavAkXGuZCe5AkIb5bUzzDr6tzBMjdagvzEWv6Wn8qpAT9wwSoIAFh7VkggXmSe9y0pc1K1dB60B6OXwWcNuhpPdtN/I3E2rHYnqmkT6GBCJ1L27r6D85zmn3ycOffiFZNWA9950/aHEOzs9hwOykWSR/rOTfacBPty6o0qGs/m8Ws7y3JRDBT5V3gZnUyWI67C0u+c6hfjXPTpX+HdtChAjpyO85Q/5xn+uCYlaQQHa6y1hb4gKUEvpBur48/2HY9Gbx4kxkSTTPNOQfQmdZXkvFBT85SemLn7v9u+pj8VcC4kG/gD9/pdtmTqNEqXzqayBNImDPpocntMRlmk2me2rTVhdMWOBPVuFUYUzdb/4d+793eQrTpcvctK0vdz4rs8s4AFDZbLVPVndT/EQsCsF+CUuazHcl1YXLz7IX6zi4KLntDoVKwY9sTMHVYb2K5q3/IiWlLS8ws3Lo6G0U/vuu5p6atGisuItqu8dUPn3LqqLPSgo5UJHT/HBh9Eafj1+QxVizls7a8tgXFqAcHwQxten2IOf773kWR4wCvWtELQJ/SIcnp1jMETId+LdKNlvwccYamtThZMifb8+UvZ9URgPnR3DUkRgxX0jveLhoS/CPmrSsGHUmFI768GFpcc6xOzBNsvW1pcYILyKvB46LVVikLg7WY8+cOnJFMcgLEJLxdLPUb0adlXWscx4xMDBOlWIoF6aUDsqHGPvY+wdLQbAlSuPN21TiulaU070/dq5aIcpQ+gFc7qzLtSgLP6ubDmQdg5SgDpMXeQRNqFvGizUMm2QnGGgKc8aEHL9u/OBi6y9s/zajJA1z7ESl8CSH8OTwGU05x4g+2KJQaVDiyIF7if9KV6FnGoIiwWN3jH6565z3DnUNoX00ObE3OpQgwSOve5rPG5satPPtWQyxjDEAllmCCNDk++wB3J4X8+0Vt1VhuUsm986UtRIqhX7URXwHRx0zeaaDINm+BXeUF99E8/WPouOgF5DOdFBbYTChy1T5gjPhTNx4nd7WK5qP/Lnx98d8ohZ1OY08MKqsj78hS3GJ+g9LLQU/w/2cYr8PW6yKHYzFeEvW9nf6Pqs3zIE+J2VppDUfUpnL/eLDhB7lBv9aMttjpULWaxZnTcBr9GNl/2jk21+H0IabTDjUddz/c5CfxmLkQ1x8NdfBS6HLPaB/VJfnZaSoML2KmJV/HETkz6KmnLZcDw9fsr/jl0OAcrCNowVVwKqonYE8Q7RA/l9xBtdvZKFT+LCaCXP7QmkSjbFMZg5+fSNJS1gN62W0cXtwYqq94vE6S7GFnODEVEigjsrtkY4ADGyqMmvSa5BfY+vRWQlVOMiHrrVn6MVo3JrMmJyRr8GTeti9N4Kw9MdrWiUPGPFq/M049DWpm15d28FUlo3WWrrvaChpUTRENjwEtoaAFTDmXJJ8bwcOGqFo893364sBMMkwcnTBKQlR2uMAApcAAjFM7lQ7kT5tcRbKOuxce+oWCOKvUSlakAou5YxPbI3/f/UiruxMHgBoR+NKc/++Dc8TpLWIOuSX9T6ICGxY0d5ueEi1Fdx9yfEXb6oUIrRjHlf2xS5Zqvx0ns+cBoazl6+NZeMpZApV3r8KG1PLK0fRvp9qCwMqWzINJK2/eMC7Jkpu417qcFQbqKuI9+T2ATZLQoJaL5MMfakkBvDS3BMtgDVebg+VvyIqwghXvlzF/XnSuwUm9l1quehqSgXQLYSo9WwZrsslB9YKeuAiiXGJQCdl4ZuqBj6klOmKZoEB0PU2YO2rK0vQsjxEhoSY4AgZ/E7Qqi7AoQkkHlKgTqvHpM2G5w9vFiwxev4AHMZ1fqHxQV9951Y9OZXe592MhuAMNOEhmAMqDzcA+9tRCYh+5AU8uAQhkq0pqZlh6oHMHYv1qpQBaxcX7Jsp0xN+nfX+ovdZu3yrm+uUQwvuQIkXWhmk9lNEoc27pxnWcl94aNyZrO0onxvtQkS1/b/ARU/9IHirRcmzE1hpC8o2L/0PhFFq3BYyYIbJpiBtPEtlxryQVdv6UsVOCtj1RmaOy0a40WtGKictg6WB4L3IDIX4yO9emKEZMb7odeP7VWkmKdBNa/vY8Qu/TnNasjSgNSbKOUFZ8izkW1rHD9sDtj+kxny9dNFRR1j+5T0QzS3vbAPzPD0FHf5LPSVVxfmey+ul8vvBd8U3Pnei9JjkKHDoiC1Hj7FWykyDuMsxfa7WeS/FRTLefiCA2fzu1BAM4oIvKUwQU9FNQlFTbAJWq4bcKFb90YtsrH2qKEXlSdV8sbUx7DB2b8LnKI6kEjiMf09q7SY0fZxRZJTydA8h42Gb0qEl+GJG4Lqqh542xJnQKbeq9v62601g01jLbJx4icjCh6XAcXBnL46Qfrf7UiwwMn6rsth6pQr/kIIRIK+Gx7bKEYjxn2fUBmJlsOEW+e9znBs2o96ErnznpYckJA9Au9sn1qwwwBMDoyAyW7Zi5xaRA1fbA4Ld+datNvl9XoRWCR5NPRo3a1iv4j5j+YY0mDFTme+7G9ML6FMwVmMlal167QxLhV5Swg3Lq3p0lJQaUWNdeKr4YncKKLKbMLLs/qOuF9MxSEpm1/GzaGLg74BGAXlnq85h8wZ7liUmJ8di8STAGq8b09zGBo8Qrc9FDBeiSx8ROJj1J4juEXEmSTCJNuWkioEeSKNLZTMIlp5Mg1GLIfxwdFOFhbEX3dH4jCskOhwE/KMqppUYmVJAd1fpmoGc1shjrh2r03x0hBYLebJ8cejgo9gEMTQv9xF8R2TuoZ0hhoj4EDfjqFLiBScYfn/dYj5E13lyf9LcA59baXVK6FvYeQ78c0ZXsd8O4HlfVLTmmIdFXudR7R7yzcJZaCbDh7iyXgRtXUHBvLP1pRBevmHnbY7k63z88NHWjSQvW70hIH/f+hOvCJdbHKd6pRXXLhBCWk3JUy8msyJxi8a2+jDa/5VZOiQGBekzyzX0ofnY10l3O3xF3AnyqeFmYh4SYOAjyOE+JDGRqFKBGkMQeC/BS+pSPt7SxyABc45qsW93Lfzcu9YR4n2kMIPpoGEn8BvZW3L+EF+sF/4/9KsXbORC7KK7Ejg3+XoT63wXUtJvy99q2gxvm5Ith5CEFwVpLR9eiHp9fOIEMTD12GhLzBN5hkS0QS5NmqBa7AY9S+T7lNG2wmP0Gk6zuI5cKn+cysQ76Ay2an7aVOo4TPtACQo7PkNsJ/eR978QejakosqAECsz3NpRkqnO6WgFUWcJHTjd6E/xvpoYYy+apnaCEShNIv3p+zEPOUlvuavsmMy4EajisvPtfdcPNT9ZWm3SitDAr7Yuuv7NBKC5xM11OudCxG6dGPtO6SST9RD/PYZIAlvdGvzuCAJ/h2lP9hVLk8Qk71gvUBqMimHoM0G44WY9hQzDptSnIsyFf6S0BDtptSrIAmProG68jmkAlJdX4XJauoplH/8eUWBmEBfyT7JnU1VT6JGFiv9QFrkpLV731aytvhkrcNwHo4goLjlQehKvkRssGB+m+G7uLRj1cuAPb16Cvz3QA9Yw3PpHFFyzME6NSS6uJhnbfzqb/VQcUzsvXdfrcIDCaxqTn1KQfQUxok7XFyS1O+JaJRGW1SugkFEM7F3084zvnJCe4DLkwRYQeyMG+Og4z+A+oMaNZSBD92huauKJ0QczCPzYqurWcyQZVjqGYRdjI7oyYyKhtAQhDurHnejLfTbDFunnmLeehkQth88tc/bj5poqEy47cnGfh5bAFmkPCEuXhhF/+8toDnO8PiTNNXE4sU1+9Eo/lmhQECRJeXSxo+EKRJ55rz6/dWiS0kh59boAYJDTKrbzaRqzTHQ9RQ3OIL9JwabTs0HsoWzM91nDeRGIoFJI+thWOxUC407x7mwb/ZjIO3e4P6EAxaA7560dMQ0QG3dImFgA+5I+vNl1WMBa/WS+knghaf4dyTBoMDoX6g7TRnm4zEP6KPYAhjrG0YhHPvttyUm3AphGalC9tzj7vjKzAAavBU2otRuwQSVxjtBihvNgzdBkEJC5qA19YT4OYoRGVes5iOfrdq3Ag7yf7JwY8r4rliR9iWEwHMpDh63i8N3E62IDc+48+Eb9B6aSRJEaEZ7k5pzMY4rJjWeoBVlbnKTDBx5g6f1QMGQxWFH0JYuRfny6NXYh/q1iuad4RooCUo6zoXzMfTh4TSkDMEcvbuefQUbAbMVEXLDTtPb+8xwqDAgedEk+XqobD5SMQRy0X1hc1hKG4gil+CDEbaLhefVyzlPyls/7+DYMxZ8zyknmzIyWmeQ+pgnt/wTow+Jg34J9D+tSRGRf13ZyjMPvYuLBF2I+26s3zhWWG7OtG5l2AOOKAfziu7M6Nfm8qiKWx02TnnTdaiv2qIJl+N/GUOl+deEsUj5l7B//MuP7Ejl3KghgfVj+1Uhkx6Up0X1ZFJgCWGBU+CfotXkgaUv6drQ10G4S5Xpz+wMEJdWmt4ww3PaiI2ov0MH/nqcjJY9BUFQEEp7X//rfXhFqWTYBUwBaKdQFOnEfZ1e8HJe75afewJsgEJh7k7Lr+7y4KHS0F6jtuAa/d96TrvFQ/D9XFHuNNWABjrenZ/SI0TM5vFXWS2+h35OcgkcBnoWBiJ5xBpnAZhXfOvZCRR6scKswa/bhg4v7wuLeYyqMlsG8du6DE0W0oJINgcugINzoui9YWmUmY819/R/Vu1O5qpCHtxZLwhYMUgj+eMXSoopEPrlnZMiuzZRP12WM3JDPt1+mzKQ0LxunPcDWnafop51JT/5IOs0DbqXfVf/9V8xi8goI19z2+KZJOVQa79dke5mcSQ6EFsWkv90cXxg5czO5WaWyOs/DkBRkTT2rNeTo2P27OTLSD1V9vVsP4ceMs7PDzWOk9WtQcsNVvjk2yScaRIRcvd7GklXslaGQijDgw9Z079qjMBdOYGj+3yC3YXNWwNykmbKtoa+3GXIuPNip2m3jl3kp799dZNEAora0/MxOiRnMU02OSZs+0Tb4ez7FgwPzltukb9bMEO+GR4Rvu2z0Wflv0Bp6dxTWezSLr4UTgKxj8gkMGzdxKwwnob1LMIREZY54E71VZjRgUzI1XvI0iPha6z7eia4oLlx5bDbzZzFqBTlQMlu56ntqdedKlW12R9q/1hSFhqVmcOQ65NrhSuUoEnqM63qpFM7Mx9ca/cyPWxXEf9OnV+7w1qD+gWMMRWc9rxYEFVJZV3JdzMpuBiu1Yy/qRIsFzHY+t+yoJVMnfDl+UVgIY49ynYIOehmu6ao0/FfWTzK6Rgr7jgqDL/Em41DOa9tVKAXOFsZMKnIJkwmG3F6U6V8lQ1jsylAahRo+vO4C8JU26Ckyynl7a36U0PQyXn2Txon7PJ4oxIKr7/uYWyypdbgoysDA02Cayrd8CoNyXfo9dfSbJySXe6WDDxT3/eDZJ7pJbZaqOFbM5TkEt9N/Ej17e/PVO5bZGWFuLlMszg4FT2iRnFC8TlraS5BOymDlvlvMOfJ51xGUJ9GMcJEeqYKYyhVg7vlkbTOGCQN0Kt8VR2bsL3KsfPXo1x3lmZMLa6y5ycbly78So0tpwcXrUwkDpR12OuWgv8PZglanQepH1DtEc/9rqKJoIxY+htrSyvJWgHvCcLxTJzuevK2cfgibZGcFYfXeoHl5frgg2430hBhn5bHHJWQVAsgvOgG+0i2eYRhm10dAgpYRuITwhiTcA5FO+0mnO6+ZnWY/SGvV2VsxpZw3BvzwbLAw6OWDJ435Jbng2VkalHvjLR9GFbQUS6CdzoE5VgyETwTmXGVcr7BdlOvY40yqZjo/TtZ7nLLW25+QAP8HK1wXLwYbl+U2CHLUAhhMQrMTIhtu9JOliUbJlY7sNIXJ4BSBcaq9GpFy/QmGPCQXB5nvQEnSNFEnb7Z2KORcul9REaneshvi1mPYeObbeCjYGLnxE7WJDBxHeuLXn7rFZtuY/gYNkn0v33EDD3Wwmvf6cCtCJhka6jNmg4xUcabNQFiMf76EEG5fZ7J1h2SYcge9iFtd5TJ68EttFKaI6DAz8YnvdjczIcjc3P+lGhpe9d+zzLBAP3/vfB1E0W77EGuaFahYrnCw1tXSBR6RmZ33UygTVkHWkCdQzFc1NWAaKmElw28X2StjEXtzjFYN5XHd3WBQMoewsjCh5fAke74BEG7U0Iovu0u65+oVK29V04bXLECo1P/p/aPXkY3zFDs7pXeFALNsyfparalkLqbqswyezM9eACiLErT9dhaFuGzQvn/3RLbotE7O5jJfuefkh47MqfiZeGgcEG4GfCW6WCE6jVOnqxkJy73EEF1ShgUGlLpKEtvHZR6BSOfV0Inf4822bLdWRH0ZFqlgUawfwb3+rRMrLiOwx+gKjdwkK4rBBw5c00udQmGkRUQ7d4nO3Y11gR5pGwjePYWoYMESkhQfNGVrEeROuIM8SlwJK/HV6y1VUpuN0bZa72puTdc3V3U+KRzmE6Atpluypm0iiXBUsEDIXpbVHxTq66Q2IFaq4k+fzUDmtd1Xxk2DbhbMpd9WdtUAvu8H4fWjCTuS4s43q+W9k9ZOkxcg+ZH3vbO+sTV108HuGKD6tUayFmU4ey2SSDcek6uTQ2HFG4zd/k1dFYBp9f3/mStPKwLm0mbqx3hQoTMLz/+LizZbsntxcP6gMTO/CRL9uacxL77o0A9MmLh8DNleDjT46VTGDrNO5dPOisFBwjYrujbFMEVgQsK/r1RKc9lZckKTFyrotQECnLHV3KKB6GTwJ9ZZIpItcxEFPTnedvnejHVMDNj51+gomKEGQIxYxCaknSQzbbKt6vah+nV+xGReErxoDeVyRaPPvr00ZCFLck1rw2q9dkzCugXodvdO3JjwwXM2qWxf92f+TrZDWOnYBUXxixNF+d6AM1Jo7pgCzxaS9LN9W+h8JHBpkFHIFjUghoXOFCZgTe43bmMY5dWPFYYD/pWfszKET64pOaQIKmiuh15p/qudzyVYuCPFOYJ2HtYfkSwWGmQBzq69mgjTI0IRR5WarnesWZCil2zHB0jXug8leeljtRqh49KpmiXHH0/LwWHa1twMRd2O7pCceo0fmwEt2Y+rh7Nuz/8FxRXT3wze8eo8+qQuz1vy3Antqx1n/WoZKhgOfijGZtou/bAWDx4NCkdDGMLjcXXQOfeVVksFm8xERFN0z+Z4R2F2Yf0+h9G80nBHvJLkYEqJotnH+WYl6HaQBP6BOS/kxWKN6UtSPK9doxfA7D5KCHPn0/48VW6zs43dq7WYK97AY0wwgjwnfGSBUR0uU+7LdgdQMw9p1GBEraLgq7PLmtly5+W7heG9Y0VPZ1pHPlJt6GxLq5Rs80slG9UNFC3e2gYf1/R8DiWRN7vsMPberakFSwo7XVtWxoWcoklJeHwHKUPdawAGX1BB0NyxuHJiqcgAX0O7AjfKVQWalfnNpMt0PLrMIB/MaD463y/Y0I/7yXDkV8jX88Lx1qBQTU3b5NC/0lLA51lVY7mWYt2EKq24zaHQBlPKFdzLJHl8veNyFEMbDuFXUA/aVzqBCyZb+1lkM6yZcn6q8EfHD4d7YYSjsHei4QxAaESvPO5Jjd8n7WnBMCwpLAPf5I54P7nupIAMr0dgioi9TLtiaYxE1BesJyWpcjOr6dQh9g8zcBKK/0ss7X/qUcLkj7SoJuULRdRSWALRCE7rMozf6IklaV8opNAdNfLU3XO1kD+H9n9H45wDltokby+lBiCU3l/eYoqF7GiQuc2E3SEQvzYrbinK99doBzEVB4YrX7DD88JLoYR3DFMAue2K9stMYqO+8e8Kmzfl+8OZyrD82Tcl+lt+eZo1wF+rM3X1BFBgeu7E8nLZ5TRKMBhjXtCnVwXgqU0m+VfAbRFZUpynqmwBXPRU5Yz4HcnCCFEib596KLEzOFXikwBc6OxXGZ/IIu5vtvLJ891Yt0r3IrJHp6ZxPzabvjzzZ1K9N/alrsu2yGMPaDH7Br+Uq/xLVnXEEpKZLB98IpqUDNLlO+GvYPN1HXf3M4F777Lmhy1ZzE/ndrJo1M4ykdXmif+gWa2YAOrkbI7ch9uqzK3GA9dBvRV07TRLXmYw0qOqhae2B78edfATAb58ktYIKqV+eEV6uJ6sxlEs+LxeUB/kLRQKgchUtItQakv5Ab4cQXWSPBj272Iv3wwjKI+l4KRykTfk7bv+4RjN80i2iZLv4f61Wsb17M8CsTl6QqPCEz8ftrYMIWyJYubm7OkPMW/4iowCIwPtKB3sq6SAh4VaYaQAuqofpMspmVZCHTQTlD86mSlMWmGqKL59ME6Uau6Ty6vALwCawETc1dKBxzliaZyXN4MiPrsGrCx8D82zhhb6qhgKW1AOuoCJ66LPIVvZlzdrq2PDY577kNbWUILyjbEdDwYHTaPpEWi7ETsLNOvqIPlu/4BwrpiDUUuuyiW5QIxfaSFoHMcDlsiLitdYCDNjGgI7tcwVma1/j4qrTet7pPo+fozPDovlsMcdu351eucbFcE0GEKA0TZh3R6jyH6DPiV84yu3+BPztD7EaBF1G4Ac0ImyU3EnCUYlSimcvTl8oSAaQouoEiC0sPtN6dIpfj0frj+IJ8roKNjhqEoD0EqYtBjWEhMFYP3Up8rBgjx+LlV0PmAdg8BuKcVHZpqzbvPyMEHwlJrWvUbV38wipBumDo8UASfSz9JVlKj1JCr1shvC4A5NyMK4QeiFO5eGSUiSM5H51EQO30W9bW0x1TisFgtxqp/hmvy9kBtHCzYrK+DYk+qxpjc/y8f576OADdtjrgxEu8YVKg5Efg7bkUZP7L4qXVXqwVYcDlEgnPg806XM2U1H6oIQQPWssDV8hD/t5Qgsv3zsvj4NhiO1aMxDyT82NTDA0l9UrN4JZp3WZPtf6FV7pI1Qf03br5eTCvtHgoRcU5U1+Duwy5b4S0OwfQxIE2HuZHVWEc0TMJF+q0Smt/tW2xpm51XC1ts9WLKz755xPTgvtfSa/XetDnBeSdJk7HaPpXPnJHNy97s5Ugkq54jdtGjhBrCCPm6njDAKWvWINacrQbWzXuLgtLmJr3zfRdy6kVSe3Bkejla3TssRes8E+AYBOAjcoHZVwpN9kStTrSETIKe0iR2kgT3CT6p3OnpvX/BjlUExpvt6MuBPfY0by7gUmVgaJ/PlRGveHxXoDtihCCbBYNHg6MVFUQtf7IkS8F7VcUgx1MuWSQ77XyQX2JCqd5D8vL8J81akGAXcWaG354qNL2j7bi7T60jhnkzaCt5ppFPrYJPrbvpfJHolHQ9fB8e8jSsQGRoNKkub7COKoRukiEnjozIqrY9o662PK4xVTQC3OAv1dgiM7BAtKGxrGnjVLPkL7obE/xrzHQUIo/4Nesjgl4POWRgphqnBiYR/vJAJfoc5Jg09B1XzAmfdlB7xUmYyE38uoqM6BTpNF6/6FtSbzhzCRPSd/QinGO8li88bsj1lXkXfe2OVzta9WPfMt1JUaLaifv/Il3Fuh3vAxjp4rMl2fl7fybxaX2V2wJjaoLeywNrOBCDIFn8Uw068+n1KaSjdPKFgqhAR79vWVxiINTPHo29oe0bxKf9ySNrLCARazT1NpuKQNE2eHh72Fw9onsE559xVBvIPxzxo5AN3zE5dA9yOACAuokg6zcgjrVKXeb/iHR5THO1+u8Rh0Ff/mt9WZUbZ6+88cg/Bu1ol1mv2ZASKQjJKNdgQmQtYGRXMn18db9PFNFEYvNWjBZxVnuyVxQWJsIywm7RTHANRqBZ7tA3Od36O1qe5x5iQk1iaUnn+jivQ5tBFlFjkYU4XtWKkdSxd/ZRJNdSflzEXua+GIL+3XaSip67+QZ7s8zyLMAIewLUc+Borbg1uTIRRYND2L5s2lx+vi6isB/ovBy27WKVb3oaZp1IoSxnj8qxgdPkTYCc8svFz7glMgXz+LQY7skkCp7Kmxsl4T1+UwV2iD1FtFPmIiBIv05gwCvViPIzSAKKVsajNBLFZNcDcdgZU21BRpWoyn1qlX4Aej7rYJWR3ETggfqScpEVypusOczTj86or8wMZwqjH5j3d5U1yy5OZOqKZaNpy0qFgWaj3gd22M0HDVsPRYXhuxKScSoVj4DZVbccSR3qXsSTMZctG1ky6xgABeI12atARuSlVxNY3yVoc7JpLzIXT7CJOa5eHT86vrW23WXz/iZUZu/wh7h0ELE/kra7pen+WcksOfaLbZIQUMaTiR/G6xlneCsMnuAyNr78zihL5afyeFZsoTmw1ECDruQNpC/LERtbxfpvH988tCxNTRXp/aiTkaNaFSTrjElCFDqVKXUQxZL9N6NzwalPRhz8be+95WHlC67PwQ23tKEj3dTj2XVfazHhK4GoIwpEioRVRNwbvCtsnkah9Se5A5/Cx5FHJG+CGOPvLP196MAIAyoA2gEJu86pTXn/gFVrLeT4U6CRS4n9Z38vFNVKN088d1YWUyZzm7yX362wIwthPukw3tyaKO5b1fvZ9lIaKBVk85v0PEsqAl6ZIWkTT4134EpIMB61TfxDh7VHZH5d96VfTji2P2vwKrGs/iDt1G2l46otQtu9otaTSVPNgKua0M4ZJAJV/CYYYuwafBnxvlramLSREyuO+yiBpZNQ3o6ywHMH0QHh8kyDTyq+yGis776hP7Eoue1r72C6l4KQD5l3xKuBASfticPsEhridpd5LOySG+AiQ8jG8tNhaxahoetbGmKSA/GMh2U7Q2V47uPpgjzeE/pbeEHIn0dJkmRd52EI9Hu29RjmGqSHW5Fvxu2V6nnJukv0JczWPBbskvJm4/AUm1HTm0LDhHn0bmY8LvhGe0iCiPUKQaXeCvYs02iSo2rFDAMMVakf10Sexi3zweT16PvisIarXGo4AJYLbwIKlbtr0K/vaEUcexovBVeWmcrRsYbM5OCaCg818+WptdpJk9WEyadKWd1yAFliD4DY38tQsgRJ73gDAxaBb2R2OYbgv1zBWzNB6WM7GgOZNbKYpcblx+hGFhkdTjX9aNI74UIXcWwsSQMyXNJCIOfFIJUCugc7lCijQ7taYOCfQ/yE6XcseC21cdhM03n97m9+eK/Jvjt8XhHCtLoG4hYYWWDC5ZufL+9qTSbOXIrvlE9dOVpNqcYqTbD4T1BUuA6QIwSvYQwxrCd64npYRtwaLTrRfWbIcH4eKx7NHLb6dYTib79UFQY6eYwPaNH9aukwvSu15qdgT77eQw1rND/PYvPNj2M1urZWU60tztTSd745yMfFEym73a9BWuhEDNNdQ6PtokjYJDvzZdemHcGHTduylrX+znEZssk7VkINc+FyoDMVmuGF7KRe/Ou6N+yUOVMuLkGkszBV+2K3cMdJw0lDv9H4cDGuIuV8zLpBAntV5IAOsITFUbump4TJGYFmoukJwOklnWYRUpr09ozCjDlM0WLMp6FmbE7kMbUusXlI6zPATuRSNTdgKaEXMgBW7NqHFfubI8pewl38Q94hMpeXHK2LmCw4PT6h2Rm/Y+ksd1cwPDgEFoVzvKZhpFEeASh9MEzZFvQkRwWRdUTMuOKFNGHoV4bjPW1buZqoFRWRTo4NoV44mbhiPy9DMrkiXFUMywBrnDAc7m50YdRYvdO5ZEO5ihzgQO6uB6j4Lbu1LbrdlUoq9IVJtyc6r3K2if+ITOcUUx3BEmlKRLLZkQlRTvo2P23TSfk7v5SFW2U/R58H3dS17z9kghe8pJMw6MJ8Oe2UbJfN2oFUC9GnWiSH5LZJcmLVoFC8MlfqJvs/M/lJnT8lojjR32E3vIXSdlwRa2/9BZoJWszkmPvipI4vax3JIV5OmF5kLg8VDObuoULeuqF/Ht6uSuQhqAk58ReOKOtp84PvEeX9nq6HQmA3qlQLy0nFKAcCwBnP7Ro99CmTlEIetcoNI7OmN1JzqM6PUIGgZ0yFuTzRAx519ZXKyC2aAyVEeYlP5cwbC5S8LVK6lr77R+7r6oi6FWfTgCuUn2NZFElFXrdg0+MRgUUvUlUqnGDcQom/5AeXgezJoTQwunc10US/WAAeZTpg4vAi08OWKDVK1h2eL8BYStauGzEm7dH3pGiCs5QcxNcStvqsKNEqiXNRKv3TKWSI6htjCcYQruZfCa9WlwIh5zi3W38sCs5o5VdRDMNFzBRd0o9YunRr5VWF5qcrQxDf22oyi1rKA/FuToJ0deotgWIziw8SfoRMzAHZw6uDdP77JgvD4EiRsgb3aHEqWeruVQFELt/oz9zkVZOON0Zkg69q1cfNsD3OgLVXQwVFBdWjFhVFAEyxtIn46ocn4J74GaUUX1M0JUDkYTFemKiiTryMaAWF2Iiu6yJ/OHVVClcGV9WMGDXs9xoNW1LuCFrm+prY3ZTkZ+SFwefbzeFEqEFd6azKiqGoj+AqtTsctTpoyYiJd1d3XgCwRXKnRoRhHFveHyvU3SSmVpRIxJTH4LieyeLz8ZOc6mbmjHVuFH2LU/QTtD3+ciB9Mp7cTTSSWn23txAKSmepOfT8xzFtV1p26OtpSHVq4Rj9hH5984HczgXvAWsBwMWCnb0CQkvydAe0zWogIzhNckHNB7nJORu0p3bv6AlJMk0dYTorj7i5hWszcU5fVKFJe5YJyh8K2mt5/4P4tZFe3hxlAbcBIb/EU7AUnxnOKS2xPrSSk7C4Z9eksx5x3vKeHqoKaNPCQdoU9jrXaXGQveGFeDiiR3pTZTG8ePmfT4RXnO2bpvv+h9quRUPcuh6hmTt3b3l0Qm3qtIO5qPVNxBd0gxJayTnGXFx9qacjRwGYrpee9d9pL6BAlTUK/4aGcDtVsTAYX3guXQV1qb8ZuEZbOFwQFXkMftfOBT7tH0mKzkDNQyd9B3pJNoD+r8cRzBtyf6YdH1pumxCh9N1S+UgDjhUmXudxWokxgJvIvPhAa+AqjBRqalfuxdiUUA11w0juFdqLdqWszaWM2lW0MUbtsXR3PC5gScXW+/VaRV1zgyoqrf+39PIQO7XF2K5xWbUkK8a6p9MDy+E9zJSxtES3/DIz6Grt+DlW6q3o8oJJp/LUomFHyAj5l8d/jjssfn8DnHCLxZt9chY4Qs2g7fFnxnRajXT2ljIAEpMyBXU2xdUODiHU826eFe91xbrydntwlhRvaX9ggQn16T2lb7vhQg5z2JcPZLgW9ijcCWk0aEcIdvIFmhisR3sXxSKQCbjgwjkBMYC8xXo2na7H7uAaZ5W4KqumWzWCwSrQqnm62r4s3/64CXn5f9W4OYDDXKEUA0tHiZmcacy3GshI2bUzTNXI1qByV3xJHmhiT3cgh0/xaYal/ZwX/KZM881MdOaGH+OIgmIGAedoWm0PQ/oRcRkCAeFZvwcElt8Gfsb3FOTdiPQ+1GGkUYC0S6RU6KTQrNd8PWuPes9L/8TddPzjtdaJFQCBSun9PNgPEaHGxRPkkQC8Wqyvip6v6/lCo/WecSj8J4cLZU2lrh2UGb+CQlX2WSPLgbyhND84r9IejGZJ+gxzhbO97TPLbIASJoIUfKMLG8dsJ9l5CQ8JHvelbPWMcV5PcxKyGYgtzZUOopUnuc0KlDFVa/53B4q+It3ZmLsbw7QTobkT6LD8VbAweb7smWRaEqcGDmMXm4mssNyIPsJqnGZ9qBj+W4p4Zr6BHhLab181oXoACJ3CA557MtfgLIBfjjGn474iynRXLdMijTWdGI6Wg39MIn09haMu3X5pjbb4+ySYsO1I+R0pccFIS4tfmEOHIZIb4dQrOUlPeHXAkRh2YJMxX6E0BMqDFBEZgkhGzCPxROrshf7AhJf6A0Pl1RSowsI1hLvYG1ONkw5UGQz2tSDJH5XNwpgztc8RjfnxlQG2LBu4XOmkIUWM/o8UjIwSj+jI58TIR0b75aNKCqlWy7Q+fMWvpyh9iP1G2p1qMjZGtXIV7DRrp8zc0kL/kEPtEkfMKDE9Ofc8STbIncVIuRmS62NQevEi3RY9smBg3WTSvAhqYyrWZSpVBYKrmeUxQsHEi2oQOmaoFW4He1Vy0V7htrrTIS1U02IoekmdszpTev4+91hw8Bq6vK8U4Ag+Q3LW3hVFeV5JRvARvJuW6P6liLb7GNjpEpQMO2U6VhtlieQdUkMg9KhV4dg2fAxtqvIGstFtLrlatUr5HdtzkDjMuaT9LQHMMU+mzWayh04h0IjLaIkTrf+4iXnDVmve09KUlwJ2V3C83/3JIOHE1jJ7yQ7Jv1EA0tmXXcmJjpjiYqQdRSPjcFf0rUzKV1716/HGa0mmn6nv/C5o44WMXICgpcpht03FLSMlLbBUsixUu8YtR1Y3cWmm03exgtjfUQfpiIBQRBelMYWWRzvW/8OSqU6JUV4HDi2WMbM66ij1k+VRItOjaLG2Wp/535M7vs5U6J/twKpul8q8HKle3KM6Yb4tG7fKTaNMvVG6ct99Z97JNz1Njgn76QbdpOkq7vY8SX1usLJvGvFu6ZggsuO/jxrjKJ60k3iRo1Q8GLO+ok3k7CU9YVohnljHR2fKOQQc67O6L428k4Hq/QQYbdsBhkM48Fga6MH/WLleJ9C3e+QIjfi+RaiY0kMlrMLAZQNA9yu0M7SKsN/7S4wZz4IXg7WCWm3EOj5Ru4Ny189Ml+2wdF6IulxQrQex0BQqZdrhr0y1ivG1IjGrvr2an9IQbF4WLBrt+cpbfdoJ985PXS6XK3pWeYrV0OKYBmNeKP4xDgORff6Nres/NnxAb9nhU0to+OybVTTr2DtYl8gFJrzjRkMUGBgwnm44dmiB0m5RBO+0gmI7GPCo7qQuHkRYfF/sMnhi1wLeRKlVHIwKqcPj6zqJlYJ5ARrODQPrVILdVd2KLkca9WaYJBe46jZ/AqwW34QK2EHTKsyvrkrp84lZ7aJg854KgtchZaulhS0MnuEyB02Iis5uRvvKmCSNkLn5z8kNIKh3HkFQZBrm6/O2pII4/pPoQXT7IaHbRYV3vsNIz2PPfMoNSGLWG+SqCYdxJ37F7jam5j17jIIy+6wnHp0NkW7FaGDY51GzXkYZ31sKJrW9XcNoIklxmnQrx+UlLIqr6QiTK7XsSTWCR1l1jo1B3Yj+tYhfJLXCt+rxHJcA4DqGaMzbWD9LrNkjtNS0px9XknTeINjcb2+saRqTyfGNd7OaV1GamvohdBrdvv0UKL7fQw+1KZVQuULuoKk0FHXVmztwTHCrIO+JyU+RrbD0olJ42jU0q4B0uvp23xwkwaZnO9HqkYa+ND+yl2SXT7puMxUePgvo1zpW+G6+Z1DXqsVFk+Zdc3TX0eo0aaAfRX8zU8c+v987JYTaDFBriqbx+YYZV7Ajz2a9wUZ81PhqSGCCFQMQ8w/bH+w9MhAKyjbEjWvHn+x0QBK4OvWXGiPdmZeJNtyfsF7PU+HR9R0Mj2yTYbTE7aXbNlqQzRgqaJk4yM1JsHMMtneVahYxqUn8o2I2GpBWwq0c4Ipm8FgxRSD2IYarY0keZ99HzZZBhrreTgenUYBCqH3IBbJChp/FykI7TDefZ3k+1F3EkHnt7+fLKUB1kwZQGIKUlJtSUBAZtTqd4r45qdm2Cr81b4Al40glOjCG8Zmo2dB9q1rr9clC5y0hd1iJPpNIHIZ/ecB+QgvU35m+u4uwSO/1rU5r23WtFdz5s5eSdsfK9ObBU+amB9YTOsD9PCWRfSId/zAD+YYGZbrqgUQH3D2v/jxUKiFnlqjjJ7PaxaoLB4nCgae/Zt7l9FZUsi9qJeiIkkMQR+jheu7U6rDlMgRphkvxYqBfR+Zdn1OYBkDO9/CQwDD6hIwUW/HW5PfB2NwhcOWfZihBw0N+3YLVVHy/e7z4B54oy1FMy2x5Ac1uD2jysnmX0C26dAoKHvY4XoU45wS48LlYn+PL8+lFCO31ASlTpqo9i6ROd8SxEBqNDZRNoclFHQ5dsMnbcKDsFj4KGCzGjutViuF8H0bB3m0mT8WpgaDv6AvS3cZH166dEbIvrbzIO3FwQSD4hLe+ExPR7950QUwE4dcf9eq3s8FUTSSdF4Qxpo4Q5271ZX0SJUNKt6e1P/SSK53EUvlVUKyD4EUMuwj9BMngwCktkXYX8g4k+NvxnthzYC0rXCNi/rY6WGjGP1K2TNuzHyga+vNH9U2TOgxe+9VAVHadIf4l+9inSR3mqn4xJdJ0Z07wvqJRd53/pLDD+2O1HF1rs50k/HJ91uCZQCZoJggbgLFt2qljsw7JD8JUKfixqnxyxGCFBRU4wzN9jAF6JDgJrzmc0p35sBDlDkSWoviPjfrCMqKoMs7vS3pYiFY/9rVtzDobejk/OIFlA8dJPUjwUpUfVP/qY3jqx5Qfs0iCLodHZUt+/1zs0dT1kgN3fiNSCq+loKEdc4Bw6rt9/o7IAfVAU/M+OQ6Jm4HeWfPjZ5uX3qEjrdOBzBLckHUgZoWXeUmIWLmJqQ+MWmMhUmp6bL6C+8PI9Pj3hFvaL7ZzfAWsflTB9e/GU6vgooCanMa0cxlu8uMO59noPfwlxcyfR9OH8QR1NWKcWuehz413J9iHCyKHJYsQSTIYOepMxpyr0+9Uxc1MD8RCfRC6BHh9B7FpSPA+Cw+WpV8jdUtLkna6txqw9lPL9vpI9ht+UHLS0yUxOSv3ykViQT+RPYhY9jvoCNFfvHwwIxzKhw9f+cxCnAKJPssNPLv9NhpkCh97odeha+yIk42BjsEQcmK+k/K+lQ010vFyPrS8T1XbVqmtA4Dun5JuPtirWc4hzwR9W9Y5leyAhREATxG6uEAvEF2as5rZSa0nO4drlvwNIHFpkl8uMHw2IzufsWHt9XQwrrY4/1Fjooxe2xXI5FRmuC0YE9+l5+kgFsrXAOdqWpvJvAMJIGHgR51Bh3bGl/UK2+sM7jxBHRvjF9wGdy7ThdQQtxStrenZOQ9k3AYVOq6Ii9l4YvjlPpq731RfSH3sysw78LcNw6qHTP26asdDh5TpbjQy0jKm5RspECYvnw4oy/GdKzDMz2kK8E89SsnGi3ihZ9Nj9xa7T56Cp3k0VHHaSrGvY0lB0FElRCNSvM4BRPjZvPnOoofXWLVvuVJdYa/b3HekJNm4i333eXDOeOp1sOvT34Nsv5o4VrezPHnEqOPRnUOwBlFFB6g5pOczUKZQD4LZww584Hrt9musTLkSMLowLoMl24wx+2JchA/o7KB5VHMg789STZ2DbHjtQD8jS9CPGuEfLuBdnpu9nC0nKSJeDJbdj43SKp94PLJ8adVoJfbhdWZNpOhOEMW9/3OhE2IRDtkM4hBp4IoAAZ7vpWZ5snEjHvIHXOYjS6b3sIEWLkkz0uwaYY1q4nG3UnBx5RdGbilxa+il9DavcgaFfVl77Sfh9YLPTsY0GWGn1ic8OuUIj25GznenIBoU0wd01AKsMnyWXZj2d5BMeTeqLxP18Jvj51U6AczlEKSPyKAybp39jlzHeWEWZw9Dv4vFYpOoZBxJ+TQiFrv/L+uoMQ4UduqlGcLKJIjns8H/Ec2uNL9Sel948ZIiRG4hSIMfG9zPOXxabpu4IbVOeCTPBCx6LCAWOyyGaZvPZACaBiDJ4+QQaOzaqfgcVHAnw+wkP50lnvRSo3RxHrAQ3kxkFUhrEEEMu7Ec8NeauRCE49JA2kFvTiSX+bd+uIGI6F8h4nsYLl4fsHGzvtI1oYo0mAP9DBlx0D9ogs2X6joxLVKDnzCL18g7tVGX70JbDDhe9jZ/I1q7vvl0m3/gF0Eko9qw1LRJS/TukQAKNwvIfj4lX5g4WEOVDDSlO4yMKS02eapy1JmDwQkFTxGAg/1Z512iww/48oIemZyQ70RfeV2egBu774OzN9C3gz2EKcYaCd2aHqhlx/0ThpQ0RaIfoj9KiCOp3Kaff6ur1pIuSoa1/F8TwNJ6SzQWALInjYfkLgg0VbgdL49bdtyt/LWeBVzmiW9OOvqhhy4vGMFJEHfq9Jcnufrl5dWkV2oVzg8/bi3K/9J4dbHJs0NZQq4JzZ6QAEs0JWUnQmrOj+1e8qzVRADibVtRMBCB86uafekWUHmnPHUVG79QsXz0fuu5lY79D4SKiGAgJF+zUFgpVf5y9mijrFOlesqQ1ng8A0pu+6S5st/etXkrjvP+DO4xNdGS7phMS7Q8gS7wNWn9GOkW8rz1p0z2EZ7hHggyQnnqHua8oLHZD01VGKyxzKAD8/wk2jiVBuso6GPdDs6c9FbEI+81dgC2wgsNAc/Gjm2DsmVnniupzMdOMkkYuBIzaZDEN+pG26aaBx7JDdjWyhLSuoKyCm/Km1/fIRktuEsZnOG3nwanbKpqPJEYca5se/biz4Jlps2Tc7lfNpBpDun9f2uON92Z08zITpqoGQguqORD9+iHuRwUgCxZPcyJA7ekyxyVu5kyE7z4JK1wfAGwC5eZoPlsyLxUpTZ8z1Vrgo4G/KPNQ+lqr/ij7BJjyM5ILGhz+kOUPRq3g26zHbc4R484Rk2mjKkm2fri3Rvs03GdXgsY0UxHWwg8MBzBigr76StIHO1YhHrRG2Lv4/mIfez+0gloObK2Q8zQb09ZUhGYE4KDEl7FoJWOBOygmKb9QHIfOnVTYaZDtLrBTEWXoLQ4ibA6VmMebRkNcySqf1mDPNTsaduJJwew5nL/hzDY63MKljUCS0Qgu7CAeHrHksb9rcqm0LvYBHCJqnjW2YlCdG7BzOZ9XLdkaUzbNNWfzvSz3ijr0ifkLfM5FSjeHFtpOwal+Xox33b2BUpxmUet8ffL44OzyLGwChvxZHHqWNFqIIB3hRO9QqX7yB/YyvlaCbj8SxT9WSAtvHwVOCE53kuErS9t4XclrDK6BOHZS2pZZSmdLEOm4nXzGQI7y/3b6WhPDM4bWuZZX+W5FXcYAGDLVDRybx0AzdoVt6UP4hXBIHf+xInI7sWVvfvFpuGg2zPLHol9Q357RrNr/3bDjqB5d/O9dwc7JTOT1z/rUjn6OTRjVj5hqDeRBWlwV0LML4OT/+6oXCL1lghCssLg0dqvpBerxW4HbIP6rWUNVBKqz3F/aqk52VnWkVmAJrO0JrmvcUBzSg7pjCHc4d4JmbQ4v4nITbbsYvVv7Gy2pxtEBWIzq8HrdQhiPLK7DkjpS5fdrfdRwHu6FP95Wnq5PGKAcYncTmOeVDWpCbGYKesSAGqOV4mhKyFuXo1/GpeyITcCuey9HczjM/7TgRcPlxpDczRXNFYyHUp4MYJLDQQoWyyiSWAL8c1A2Vff1ePUmGGPenIfwiXH94/whS/5yKz9cgSfw+GRn81u0ivAdD/V6NOPzZye9M5QTerFM7Vqsa3yov7JfPi9LRnRcvGQpZmVoX1YakzzP508QLb/99thN91T7U3zkGVn9Jc9SVQdHZQ9jRTAxV4zznB2GYLReHUT0axs9fdUXdOqL/LhQcb1JCJ6bQYSQql5TYNfiPkslKvUW14bSMKTgyCNtdgGGQRX4WlwTgDoqlDjVkhDyllwvLxhz5Kb3cF2hglUZLf2yCyVZolrWQB78lTCEC9ftAuBQuElWYYkQxA9Ni1mTgZGbmKmyejx2qsIafCotZvSUct3rpMwnMQI3WUCO6qBp7+CfzmmZaAsmgTwUEqpjQ2y/jBrprRS+4tY7Pk7GTPE59Y9o78kJT/Se3o4h352RahA8HbHmcvHKO8hb9/4HUakCqSojUW401wX71JSRaPtk9/pCdRoz1A2s+mJFD/loifkEZ5d+LwSFIh4C81b0hxESgptF9uZmWTc7ucewICATaLNjPlR3Xxjm+J6n3XOzCjiFhO9T+XJSdRkihHTGA9KJXVmLoFv99ihud6tT7P1oxtjFLk9A7JrB//6RmsQuaQoEBCB4/oYT1d4rOsLYAoBharpNA2Z6gHHcwSXRhH7PulUteITGVE6S2YDsTAqpo8dmTo9RfUamiIgYiRGPFdadd6kr3O2wNf9D3sz6I4IyVWVXAC6tG/xjoPj/N0DBx5PJ9fw1SEsE7m6R+n/WTDG235st7Dca0TeQUeFqS+kxS9q5rzwufzq0JkUpBH1ws/OMKmdVwKdjiSvv4v8vSRY2HSprCnCnSOvhXVhix5wUF9fxxhYI0V/dAniRRu9UK17S7RHA/cU5IEBLfB4PHXC0JV4VyHYZAo0sBNqjCE9mISuqwKItRurJQvUFjuLF5VXwaOJoldd2oFLZJgK9eVEaQTwNmb0GAuY3uULCm74K131vn3F9vZlDXthFn5jZAThfk4t/HbznXCQQorLfw8INO11iNrtxBMy4B5EbAd0Nn/ZiyOAR1NxdjchQJpKF4sXno0ri1KOhhrfu5Yn7ov5P1THVnajRBQqfsN+uQyAJyTzTtVdXhm/8uTdvCc+t4FTJKF6/2PBSdNp0fJhuiBT5XNocZVZN7l4yhvq1B74dI40U4szZ5GkX6zOPdOSgnCJ3CMCT/xWmspLcdipUOJyZwXiv94IYCDqIXfiD+qVvpSyvxJuCdTCPj/Hp3WFGk6YPp3R7tzPMG+zHpfu5rH9UzGZ8gvEw8Gdwsdp3cWuDBj9B56RS+zx7bNT9tt182xh0iLxuuHNSq27G9ojSNEhsXLCayt9lU5WqXTtmBSQ+gPRTF7o24WN7z2ku6iTQ+d87xGqV7zBp9MJZu9ha/b5a/Hy9R9cmyRG7Lyz23ctyMnA7YFXI17E0Y/MWsLfLXa7OuOOBE0jrehHEuIDZsfJ3NqCi534N5FjNAmDCQiLMf5bsmMCo2RV/7yoj0Q2FnGiqGO1Kf8nz5tW+IvfSzRJoctcooqOMtUuQF0aOZiqc5eS9lenLNfpZ5hrlkWWG13LjLPvsLrbJ2WGIW4kUdQzT/By+dc7oTSTFykvZyK/6tNtlDRwX+BZnXBFbJuCYREYMAG7qnXOi965YDpm79VSfLi2pO1EjXl/JQU3nCtagC+eoAfPNASwpZRkIeLzlYqO1JxHGrJy6if8lg+51jvhjH3RXPwzvUcIL1TFkGLTr93pI3n1QhFjFkAJl6w9UnCyJ2geHcd82lczxxKrxsyUTKgDBqCTxeVtnHxRuiqFfbzqyNIxiQSkWXq78y3LlwWretmtZP7u7BMh+GrACtnOBiqILJbeGXQHT86njTdhbyxMEf9gw2H8FTJMeaU3tbLUg4ay15EUEY5/dnKwSssLYwZ65fhjXvN/My+5Rtf+rM+4c+ITSPrQY7zRGqouT8R+fg/fiMC1aVlNBkU4pZ3UO7tUgHSAHvt2+ON5gQAOZzj8cO5uz8K7vdVaEJXjfBhPk/E9Nu4Qf+Omw22SRuwfN90S/v8jxEP2dUUFjEzqw+fRKJizQNW/LlN4iwGxAQPzn/Mj4Icw5IGRE8OI2y+NgLNBidaJXoSsA5ZViXj+FDv1c/asDOyp1hqEyxO3pGK2Wguk6/eIdFltPqnhks37UCDIhW+l0sbZZxrfX1V645wimsWV7oK1eiHC4UssKL0LedISQWC0ptfQNFjoNW3mbkl0YNhWASzoJBPonYU1vf8a7hc5LRGqptDfkEmWhhZ1k74symZRW6fI6Y881+vsB/7iTLi7GPoy3sRNGX3+bDRfcF5R6BZpPu1++hhlXoJg87FgljlU0n2q22uF/cFA00lTBu4em9jMOjP6gKlXSXlZERVR6AfLdqvFY0tCzZ/jX5Q1nHoxjRR0GeK7e5IWp8rcih3PODpDZpMerxK9avV+ovNhiDtt9MZGL9HRRq4OxE2rvR8l+4IflHa6r0Rnhl1ncDZ223PDLsk/4kbRGj0YamcQt9Cl6jTX49dBg8GJ1K2DUnt587RYofiKlNVlxurwMFld4vsCCXuT976B9NPQg2WHA4ZvQ9uEGWETjndSPZVvTfCueh3AXrw8hzCxLnZZxbpufjoDXPANOzZtoIGOH4bH+hFo7pnnAdEyob39luZt+GPheLTFF2YSKdn5alx2WgLIHSx9OnYfT/SOIXvgFMlWeeqmcP8lpVOOJZRcgyKh2wTPA4bRCYVOxPiBVyXEiS8E+IESDdgXZa3F6QvVOTgvVn6Hosat2cPv9m7jaF1m7ngjqvH2vDDQTeM4gLLOvMDl4fZ3hF7jszDB1MRQfzSjjcnkgwgkln7D2nL1qA06HOe4CFy1hCpCypLVQ/DuVgMtFep4o6EoaVSIOsNpV4RIQD4N1+UnA2SXlPwJVvejHP26ojAHYWPQ5NKvB6+P1kiMbj3CJtkoxnSTCzs9BsmnRdQT6IRbkWV/ZuoQ9Che62UB6TNe4tRVX9qacCwW/B9wQbO+gvQMIsoAevz+sBdo8ziZTRrUHw0OO/hECdFgaoNINm9sQ1vG+iJNkatgpcpAiEKpmCuY23h6TNaqRjKNz3S5Mr2XLUAUNmF2Rx0jqQ03vVE1zc33hg4UH7MeMtZ0WRib22u1WNV9Wphr+0ORyDn7algjwUQj5lU58L2QYuVGkx334EVkE2K6hltMq5c/qBEiPXIXQbEdMyfROSxQpJC/i/Vwp4ng7ZdM8Iq2kofyL0oIGHLUpHtpiusVGjEQGTT3og2k07QVmnjfHDShjBhLj8S1mNj/TlCfrt7nHkFeXyoJUVQjsfAFPjiwI4PBxerWwt58iVbfIAdGTwRCd5Y5SesW37ZqZiWUkBW0XieCn4Ga8RHTCmaI1vtwaoMCYH492BfU+NRVY45psSrRqyLj/Y9XrFn3P5Nb1ivnodK7KSJl688JcXj/h2zoeot5uAohQooXbU6jJDfr+GtLqqROoElhRwUGJzIWfHg2MFUInLHAU4m6FsFcn6s1WiRnL/9PWjyaErSHJjXDapDMKfQUogTUx5qQyzbrLKafzpsdDjwG4bM8REvD1ZFbSaXjVpXFpUt7mP6PZh4Qt7W9z88/IyaZi9QnaifC/Bf2iSfjVcKUAro3u7B6LsVSSK1amQSd3PROXcKeDf+aH8yUUkVRffbK1Qdgq4G1UTt0J7h1aYlAaGUQ7XAWa6I5VE3GBe5ZDpWlRRu/+iUKo2yKl1iIhvv7GRzgj2OWa6OaB7UmNgj4KMgKtTesHSGEkAWyaWjYE17l5k/fVbPL6BsHq7cAHayiv9+DdWlq+JEJTNzC0bNAjYFk8872T3FIzwUyLlrXoxHNTb2NNicz9n50AyPnImZWs3RWh8ie/FXUhYoIkye3vzO87+sieNfQIC/XIz72ezQUdhSlRaa/Pu9iksRGy2X92gjIrtUj4lKNPmn/O+A2jB91NePJ3d/3/328RNbqpist24ZGL7M6zGEMPsKp5WOS6QfTz0qIiUgrNfHZ9UpS2tfjzXdnNtX5nCfANR0JWNTH6kvc4RM/9JqXBo7Jyw74dtX2JA+BXRO74Z/JZkOWo839AwnS1uu8lDJkgWzSoIkgWXL9sUGzjQDxwgFKFmCIzAAjUwCwAclZYBJqX8T2Od9zls0CNG9LSvyRlNVYkx72xhBUmTa2DKpeJmElvfQkfl6sPlZUyyWzcTbMzpWsocWTL5d48iGRTu6Kb3lwbDhea0HBwGFvHBC2R11zr+j7vusjU2g0PF3q3UEXhzPE/Er2PIxmfPiGgYHpC0JB9A1rOF7btBZTfcPfI5N3cHy+lMqjr7RCsSggufmA4jIgcH9w9w8w5Wy+49a23eG2V6in3NjaLsgm1CGpAqqTWeyoIy/Ge5EanCJMwbKb0yJqwhDqxjRVPHdNwKr5NofWvc1efcumb/x2Kmg+lFdWrDBF7X5/FtR4KxIPfTWlxAyNxRjX+dIXezyWTC2T2zm/5fIh43E/Wcw4H67GIdIoMnbdBrcrz8FznKjRWX+S1QV3Fwx+U6rwjXuLPuPpYHIv6wKlDy+Exh6bWL5M62hNPSAQ7hLFe11tcxJsZet/tNT54ra1uV/4rQFhp2ohKvQ2vChAQjUGG+Wk8SIB5Ni3CylXYDKcwX7LSVod5t7Hwb5y7N474jQOA4mtdIS+hrMK8/SKVVLa+GuAVypWLUImC9cu9b73MkN3zZu+Nf35bj/RF0oCrq7P4l6KyZWwbfRGBXB/LJEM+T5q1zPwWHRNZy1bSJDOtBHsHfzmFvPSBpGBdNyy1NKqYD8Rs/3BbrZLQvKYPE7yOAZnwA2BQWY0rvFwRIkZ/HI34dXoRwviosfyyRF6pPFv4YhhULyChhdClij1gFuVLxSeEK8xi1ajNfnBOpokzsHsvY90SOBbxxYAtHjQDh5X48ysEw05A2HJqCueeqvjPEWnIjDdK8iFN2+UHLKdA3iidl9wg4oUGGt/fQvSplsOXHeq/W+dKXpwnWUhGRdfP7cnx8m3BGxySv4gv6eSD+nnX44spZ6zyTFOxizMbN9W8ZwXRTrzm8X7iUNwy6KVQloOrRolhX76gEFR1LYVhiEZiNo8/gEIh8mPW4PGTQS6z9URxyh1SyvkRO+Gm81Ax4YEdpBWOjIGPjhUOTJvHMq+qTZw0tNSHMi0/yHLlmnjB6XaebgpC2d2gVlgszRBC6y2VE+4swxA2OOr3jSNEusuHRqz0FOkchB2RQCU6BdqGFvOGxStKXIRvNhq08dcy5l4AguvmgtNeuT6uBvJqpVishG2tJNMywrNm1F/tNI5N0zHboMVQplRB3yBXhPCupucaRPRpKK2FnBOb9A6TqKpBxqQNkhjOzRMetaZc5x6O7TM5eEs14ypLwRh9J3j1jntwmGIeszmnj9k/ExftdfuCK9YMXEWe1liOuvVa0guefpS2bcl6U5OYU/P8G5CuqNKjpnlodNZo2cl4fG6HN7xWmeHjZ3T/FLlVPGzhhUFgbB46aDpPkhW7ryXUeu+dG0YJfnVFWExcrjO5OZjOXyoZVfDlVFB/6M9Cb5DLxO4RG0/PK/1TgPLJSujjxb38EEltnCSoCeuY1t80YBYK6nsG6zyspOtsp6k9dOwEB5w67AhXsnZgTWHYQ5CgfIPZ2+94zjmnmXTqyllouKt+JBTBg5KZk5u9yHH2P8u/qYXoSzGB6s9lO/sX+eSEiwLEOEQ1jg0MWHPjtZ3MYQ4PyiZ84y/nrmzE2gxGosLJL2GCp5tHkAGuMZdTHMHYKJblsYWztF8G7tiuUQhiY8g3o414RtS/s7vIrXW2GsQV2ka/K06FGREb8YlV6LL5qCgTMJ2b1c9sHpd6Rqhpk2Ztxoh8SNNYVSokFz8DlhaUfpYxWAgukq70LbqTSV/kzamkFRYNONwtUFIwzqM6dLrRZsboyZ+u7bOQv32rdlozMOnGJC8VCyeaKRZYYfls/s6uCXjpSVCVj4CcYaFkWBzD2nCSe10z4L0BdBuB6hn/0hwBcQnqarYxagrGHNl0B78cxFtBy+mApZQ6dVc78xW4S3EO2EauLP35BBJWeb73CApNW1uGes9DUYQyk3zrRIR2Wo1ymy87XKLdVSGhJGAV89wqiv+69y6MV7Tj/9lG2zeAZZShiSIWhgnPoFzHSMoi5/0ru+m8f+LaNmNVJ8VDFg+k0d6S2U4rQ+Rr9PpC4znASxwN4psOrYWd6GgG9MG2IetLh05+2g3+N0bSIRwtZ9KQoJpPE7AzdGJ4uFFVV2Tk92yrQENPcqG7k61kXuP4oCqEHXKcCe2rORWIMjKmElCZMCEk88eG5YhO9szQuzO62xxRE11iS+D9xptalOIjiB4EbASBUARFNVUE16GunnPTJ2uLLugzbVpPUtACPxp2bOR4DWgRwCBs0afpdeTll+e1YZasaPy8gP5JfOMoOFB2Vg2nEa5Gfb+YzoCIDgZe3jYWjt6ks5WGW4Qlfd041kDNuxFWiduEWTd73aD3uXu9q/bFbU0MGmpNUQcPJWdMOgdxePa7xOLJ7sG3aT3UmqlMnrquqo9477YuvuxxmhOEOfc9w4foeLQibVA8fdz9O4Hh8PWzYFCtSBGHebr+1+WFOqeb6YXRzlkN2t2LnIFCmdX1tWRTLWhuVowhGqXtIbGTIvIaypSyH8W2sBVxHTcm636qXXIoY9rkrw7Di53OHTthUv7e9WOgk9YKlYAWkmw0Uz5Q6PC6XRMU0oPL2Gxi0DWsZ6gKN0W/ONmMFwol+4aB//EA43sGVKVphgxiaG+pBZ0gRo1OxoCTc/oFJUV4JY0V1CqtdXiLM1ACu02Fot47gOZIlTWlUIpfdk+QzPWaMGNQn6Wb5SJH9MlMNYf2H6DLjzQOvOjIzOCnWPkNOmkT3EbPEQzf3mWci3s5jau43UFO/gQmvh1gEW3fvO1DIawIo0O9qhNEpm4T4RnmuPGtHByHJ8FA/FxjkI5VMIc4fU4RFSe+ICMVNfdjXaBbkq9sEoOiaenoQPYTdBfBANPOh28Gmyn5FvQQku7V6iKoeo7Un+j/4ThaMk6RCyQ/DOXeB8yJl0YqB4EaLXkLjVmUhETlRMxSpOl9s+d3wWmqNUUt3M+4/2XAU95ppsTrlZOenM9ridfkFPj1FyBTdLAsjV+jG0TQk8DdbXSSDlm0VOGa5f2DjWSmGJsDSVuOh5qPXqqY9cveyxsmoLOihhK4f6dQanuNFnPC96aiYO2EZdghsf50QW/coF6b0jkVuDJDRLaCl5wg2KMGUyFfic21CHrAfgJqpQMMMW9sKJ/dQpfJYtRl9+K+qUl6dlHHJm0WeBjC3GCaZeydigBV+Qh+OLm4TyADsesSS/RHzBXBKPiyrcbdSW1PngmA1YVwL+VOXpDzemJVxuK5wXBrw+Jpbe1T1a9JsgV/XOKOzke0ySTYckXsiMP6WPzQuYJ1tT9/HDQ3O+VbtNEbB9WE7TAjbruPMR8O1pqsi0jefYiC9+Ua/ukGHpnm9IQ8h2j6P31lFftOq0VuS3t7jb3cCyflwwf62HLVOTyLx5lbEoHeCDdfulDPNrxE+Q3G0Y0kLrqtj+2w/b8CJsLKH2Y5Nr/cpGQ4joCldeh6qe/CwBdkB5PUb0zAG5sX3TeT+B2SbgjlCtG6CiQ7blWQm3eY4GfifON9hkz2Lsce6c31+h8+oPnuTm0M47v7l5BwA5SeLzCDvE+WqPFHf/D1i6TWXGL18VvYKTWjSdIV782BFnUt61YidkKM1rpXHmAk8IoPojSxRji8+WDGn01Gqpqj/c5usWTla0lO3iHut0rLz0PaDUwsPZsJyxxeFS0vg/9NZ4aMbhAp5YJEKrfQ8MYPdkF7XBXMyhVRTTJTkJvqfOd2ETvEmMc/oEb6S2flsghOVA0H3wt5zljnPMNfvFn1++c+lld+UsM7hxEU4UbDpg6yiukyuiCYJnhfh1uyhX1uw3ztmJ0YaZtLSi4hGhgONqGBMYBxAbGBALUHdz3H0Tbww9OEL821+YFZqTZ6yyJVou+vMX2WFVrOJeNKQ5EnhmjGPVy7T7Jgq87J7z24+0kCx+rHiWFNr7I2PuIujpLNZ71Q9POT0Id5bEzOpapb9Vj1ROFRM0YY8qL0yU+OVe0w1g2zC8zptsYU3jvEgisBRcK15RhxqgYehQVRnqd2CQNNesCigtlyiyi1jk4HqQznriUtd4vINEYF4nefbrxt9wlh2HoX+Q9Zx+UaVKtkaJm9wwCRQudIHyuRQV9QYJ0KQcSHDzrR5fqIHO0AEcWHMia4wB79jftI9ArfQsTbKRYQ+iDapw1YmjKq/8EZxJVqkGYLygHgegIRnhkyON+7mv4vlilTefuYZmvUfGH9UXG5qJG4f8TnZX32hD8vbniUibL6WGa2cTRiwQ7Uwu/r2E1PLeLJJb/SSSwHIOL5sMh3xsJ/rYC+wVbnkaxCkJQTXC8/DK2nBDdhZGSToXN6HiFKIaoVvQJqabrds4tOgD8oyzNPgnruFoRT+VnCrP5kXh2v0OsE7GVZoOElE10BGPiH034OvA4Sz2nRSCY4staJXZYKDaxj7hxVKHMXsqt2DSXg+Jt+kkpzNtIWIzaJGtAV6G/ewGiGnhTm+WxqehocPaU4JLf/2l5N3aHd87VQXpU7f6n/hcXWFJTxTSIEmjrqdNZt+A7AxUKj1csS/IXOqDeQOt6BSlgmAtVycUs0xs9OG2hPmnBFHwcKtaCcmHfXWFWP2UeVlvi2f/ork0Uw7v7R3jRbfD/JAQZdVQdc7nvrjpcAIOnpaSZfec4IR/gdUcUYn4pVu0j5pjpTC8pbCWDzzPLuQ2OHPrB+A5jjsmrW03zBXGfTcKx/4VlJ80NSzpwsbNicnTwXuWUQqQlydl8AM/wPcmLMh4+Ib9mIJuqimQUGk5XdZgAVVR3xXZ+yVtLbomz0O2D4YaWPPg0D5u0r13SM42EAiIfiU9sYFsb0I59gDLkwWvl5usHBJPtyG/PMDYCcv53NHxKvw3ozxlPylB1H9dpVYjitFdCa311Ejtfi+N17zBloWBanKLV9/Maa8B4dk5PqLCHDXPG8/Z0n5J8POoKWnVpRquiHpeS6n4UKDa2iIjtfMHVkN4fjMlWD3lXnbVZcpwYyIEvS7ozUjRm4CkBRlPG5yZWlqaiYUAI1t2z3OYy0uewG4Auzb/w9GnrBD7mT8/cR107vjJVk4uZK1DrgRJVYht4OF40G7gJ/OQRpX3a7TMh/3eE23UV7TReab1t3jKllnvxjTzPB4Df5zUaDiXOO8wClvWHKeekwNk2NPgWf6G+yQ+e7kUgQzzJe8TYGiPmz8ekI9NQyYk3pIjdzLnCBksxccCSUlMJs+HvdUtMgt5L71+BRjx9M62OEB/Ruv1E6Zl+oYb8OGA8Wej6b3VYbxs77lvHITEqxcAKICZww4sB29owUoqcADOnpl5F86HoE0WOl5D7PsUsKDt9XBJXOUcLmOXSslgXoDi0FmdYRgOj9bQF9Bxl0Byt5m22RalNNF6SUCZi5BIrDAxuUKGq/X603u4IjLXq9735AxC/vEgVjHuwHlvESPR1a0yENuLIJl8IRk7kikLvz7zSiotzyZAtWzqTYVSeeYnosPUtPrcx9pN/MNMU0T75vDqSvMAc8DUq2iHfpYYJt6QFcNS/V4SqApWWo9lkgi7CNQn4xHsAL68UpX4/OH3+DB9ZivJFk7LPK8WIHu/vMU7M66tcYq3LqRiayvHOUFnFg2fiMwQWYpFxANPDNzues96aICmHIb6llnta1JmlP3gUIhrmngLHz3xEYHY2G+sPPaO/edrxIy3W368WlOlJG09hXiKdAOlMseIAj0RIjzoZdv0ZZGT65K5WfEWXz9DKzDRcCbFbDnsULlaGBoCElzthjekvSY0n7EtxHAeUmzG43p7uMxxah6I/MCRBxWAm7nbACZx/YOQPUygpaJ1KrO+ttpWzxnJB6Oj7BgEHci9Dj5fDuzs0f8EIgepxJQugeGO2MjZISBYEvPmctOWbHjfBCP2aBbMf3eQ2iuWPXbpOb/eiJBSFLarz1AYPh+Qs1rTDyioM+Ucs4R12W8jgJx4emu17hAtZ7ofhO1gVVRvfsZH7eedUf+p28uztplV0Dt4IFtpqwXUnrMejvq0pkypWWkRIlGnIcTNCydLEs6RsetC4mjFCO9rZ0IyMPgryZ8RaiFES/aNo602V9UcxXsG+TKGQt1oTPuOjb2EWG/Qt5495nmgBAT0C332eVzHAlHDNSsBVldDqqbCLTpcSvdd53hCn9378pHG6+jnx9NQZmsApBit6B5w1YUwDfQtbVGAcwl2J+EHFGBUxoqnWqs0SmhSj9N00ZbIz7F6ui+G0x9wTE6wHfysIgUnZuA+dKI4dJO868DwXACSyYkMb4s2T9YcXMHQ/iL0SWFxHY3FdeARpfkO2rL/wFfhskCiUGD82GCLQ6d29bY9NalPDEFdcjzPmq41jNBMLvJRJM4mX2t+3s7lz6mgAMHYlEZbbbBr4NgdUnR1rxNp1fHlkW8+6lhgcSkJ01za4yy6D6q+xnDHtGNiTMuFXOH3lFYm6cjhgtxl7gytkuv5tRFEvhYy91JH/JMaPdsj08iTOaWvLsG1yGH9tt/viF7I86pH19j5F99Dj3g/o9tMZxY8+G5w2zpeiNGtXWEUxe4cVQ6CR2hqhfpVHAHbf/XHyD7xMTe+9lMaX8rw9rwlk8y6waQi4xyw5r96UyzF/CcmzOvqi8M9MO8c35GrJ4BMrTOODrUcQvsrZXUOU79F2pzrojx1MfsPlKFWJlX/D+w1lKWb5tJn0GZzSMf2Xw5syH1d3HPOgmg9jl7lm+3hEFUBXi3tggATPm26gSLj7nvINmviuB8ByhqdRDACerYCacobP3dgfGKfKB/LziO7TL8zlmNknMR2/kuZ/ykHXTv8eCxXlZ/+DElsWOG5qocTq8MOLD3iPfxhwPle9LIjedBWSX9Lrlsk4emejy6hlS6EyMN+lMUyIHLKdHq8x9EqSIDTsHhMm3ae39RocmghKeJ9JmUaa/COmLrqrREIr7L118l/mq26J3i3Ql76v12URugC2j7VYT8jXKcP9wKu8RjpoKeWdXTRDix0aL1/UDwm2N0KNJ6b5H6SoAPTrI9ewZPyUuEU5C3YpI5MJQn1T2polFMYQIG4SYb3UF317Tz9VhZSQAaGflfL5NhPXOZPN/KJldr4cQV3IdVg7p+W9qkqX2bCPzct9fqsNvE1D5vXeZQcoaM8aP10ZaYM+ARZ3ExQNKUhvrF3Wf6a4xW01pbxs0AK9we6hFz1RdjB6L0aGV2gCbYwv19GoLf1+6WBo6GwfjMt0H9JCH0Y525MlVQMOi8FyVON2VLVgT6UX9s9JdzpR8kb+jzY4aXWTt+SXV1nnOpt7dIetU1XhkeWkyu4Bi+f4tzbuXvr8G1cJSWByQ+cIasM6T7bRUXnLkeFd2F+uz0/nuD4Wx9bMgaPGRlOBydXHoZ1kbwOwzaU4fwoWju93W1c4XAEYnKssdyS4dyTf5881zckFXb0r9ovcQVBlHEEEf8EV0y1rNs1keTNFls+92e0IBOFRvwRTZNAgMutWd8BY7nme2NVBs9FkFBNo9AFT7jfNbNhD1WxJHceeuztaj4VyXq4Pa9fde7I/0MD1vZyg40l7q6L7IAgKyL7Mam3B2XIwSemxrIAWWY0gyAn2b9NMTpmVwuLbdP38DTDqOUZOD+KUI4XCjcDUUsoF2KcckGMqexTEq4Wg1jnfIxLE/rq6Ir2EPk5axvQLAPzDdC5CATQnMbkVytNnWzFijsj97u23rae6skBneVm9+hmGpUe4USn8pHaFZZq/Z4VQqnk1xggPxGRHh9SptiZqqAmunq4Lq2+VYusv4uR/WiPxkl1mpnKHpmYEkGMkj8geHEll80yJ7rQ8vAWDCy62NeTi8i4wXQIke2jnLyo/jEYJ7vyq92GaxEPVE4vlRXQcfHoYS1eUFvL9zm8zwSUJfprFwPRWoHSFcRVXmg2VO8udEUbnUTCRUGyLusV5CEXjrVrsu1S9NVfDZQZXC8WH9SNZck9JxZ8lW/4wKHvy8IquhFJQp6P2DO5T0gQKkBSw/4Twmf4pebsM9wP/SRVwuI6S1+BrkDvg9Pk5C/2Iw3D6kksbX5FOuiqLltM1LLyUGRF8/zF7iROGYPSk0ezVUp8wu+uKd54ysw+1A5LLxHn9Gt+TECWPLuu6oyFnqOVVMh9jCFZtMN8jnW48WV4vNTArcLuArkNi1xNY6JEJ0kj5u5eilTVp7spmFurCwK7VE9ttgoBT/8lLHgm4crXnnQC1FL6sUmZLJKA1L85gA0hT/nax5oD/CBVDT6K89FBDqQMSPiJzT2EOk40h8Z2lsQEdhi6a8HNrK32JEphmoZx/QBzvk1A0zM/CHQUN2cWalYmK8j2P/5ylwj0zZW23AoK8YCerBthlKIF6P/dTjerELchtZjMrXvfNSQ2VDc2R7RH9uHttafhp5R3Dg5bSg8QqEZ0zh9PGxOoPac5T+ed6zqT6+v5DY1uWuk7uKy9MFgW5J5+vazxvKlHkGHjwP938pUs9Dfumk6Mk9BGDd+d6seJYdY9riCBOVjJEZg1lUcFbgbH9mBgJQ8irqmt08mMrGBAP9fWV74ouGwN97Ty25Hj0PvXrmEV4gYRRqEBk4HbXUUVhyGdkwgzV9mluwr9nfhl2mpVXWVnLMiNXWHroOhEjJNTah2BZ4jUiGjNc4Pz6sP8leua9Zjq2ZjRjz7uMr/dFjvB9j/b2+/3+G+HDqIe0PdcdiosEKKwPMkIChTdOX97G7l5RQnxrhLyYqgHhcbOZPukFvqIflCmQ2MfRNoMT2KpGZVe1O7zCTd62PIV0oBfhbacb8yxijDMyNk+sIImGrA4fMyA1HNFv3dybXeS+jakBvVonw2QW10U4Hhpug9Vv37S6NEQSpCs2qQJ/ZMhFOiUf0t2uq5XkxY6f341RPm+i97IZ+blYcnzaZd5m7bitotuY/0+VoqzdmYkChzoYkJhuIstiXABOhV1+S/EPk3XiVade9ekovB/RFoduyhmggo+LV2Lmv9vjv2CWlZXlKettS0LE4AtwAGHhtayb/FWnE5kBl8dtItZJC4LNjynVe1IgN0kqIXMc1Sz5/2L1cSfQpxm4iFp8v3AGUYlR8rJ29KoD6JeeAOVnMNLtFfknArXes1JWy4zXUfn0fHTd1u6PMNUwobnbX+jRJga/p9AWOqGEJqeV3TXm0BVAfoCB1Nl7jKBVlk+jSDcSgRmhaIx/9i0GIN0V6HtDJ5y5te6CgBE7rrdUmh3WJF8llWoOEcS002Z5gTxq4NJL7/c7sdb5KH1GH7Kls4fZ3srRLynOYuWIAxWMRprpDBWFNkniiWbkEvyxV8Dmn8KnVlG+fFurnbeAuFk1Xsw0OOymRucOoBPFZkGFjqmvhRigyaqutlxdgYssbS0KpsKmMa8fbdLRfdW8hqNiIoAiFB5i3fYwd1AG0Uq+hluYhM1qdfsH6us0nhyXiTeMHLSOgPzpCYAzroVOY1iyd7lyR3gL6/xPAaRKC7UWM8auNDqksMe2dZbX9dycCUngKaNsSOK/3NGW2MZRAdMBBrV+6o8n3dRPYD22oTVp+FCGA+cquzOZR1TuOqBkaw4ko2UTusNNBazfS8MJpXgJRyO1iRvifyUYbJ2NAYSYLnJjVD90U/IotnSA/quzuz9tIVGrkHQbv4Vafa+KXlKMLmd5w2gq+PWH5GREKofJG5ObU2Cmtd6AEoynOJOO302aen2wD+DRWi3TPPoRARSOcSChoavitg98dpNlpFVS2xAdPdE0CgVHDyZkiwpy3O+tvGtNCAcl3FFcRtoplNQWEn2g2g3b0/wxx4zT0ucRJxQsi41uVTRus9uiVYkq+0C39QnRALuZNsjSuR9CtIG1MYxZWP+EqqNqXHagB5AjqfoBUA+RlhwhNnSivl0Tl19AwZtSPK84JPMuSrT0zUhCfNXA05IAtcfA5nx+hkYlTp6siK+6hOjjq47hAeE6q9eWJgg58ONnaYHYK7geeXtHfxkE0OkeEmfH1wi1mh2FhBKGSzQxJBK/84ig++fOH+O92HqXbmchdsz5BmQpO/ZZq6v0p4IPEXjWn0SE8GyTRwY8ooJf2479bl7CsgL0mZqvHXn+l+U5buaNOmhfzfq7VTlTRniEkY7Rn1vx7XxTUvDRPbCNjjp66A0M3/p58k7x31Y43jema2WF3ANRpsi1BY6/8z8nBmoSlzncTO2coK/OYDTJzdGj0RxYhCh1Uc5KIjyzhn0eZuDYvXsbvxZ01FtteFtp0CmWEKzZ6i35d8iEBWzMwPpFsbAlqnnlfAya9gQRUlLzaSR2EyuRGeP6QzpXTQ7M992fPsZOzU3VNLwLOhE2zxANQDcLrOaO3P6P8vXW+WFVR4YVq39WqCsqwA4i9dwZsXqcKM3Eoo7L4riPGynEXFdaXE5y2YRTeGZFPX9YYOoOZ3CamL2a7+9Fh7YUL+CtnAapRvIzUaQtK5arbEetVMthtUR3sFl+1GeJ/BSRv0NzCs4eRll0j8REx05Ti/tkS2CrpAbsQfPo1yg94rvknCjQYYL5TzMexwwPDmoiS6uDNCaPbad3gz0h6h3FWRddUhhvaQlQntQUjtszJxTZzkaE3Yl5RYRnauF9XDwU0M3bo9Yyg/UzSDb4FQqR6+RPrOKTjuUJBWuC5AHDwaJS3bgHRMtmsKN3+F/Hk2KbboTEbx2gDIOj4GRVHXyvFOpUky7zJsJT++JjnurWbEDWr2psIF+CSqyBGwLhJcLMBH9otIWVf176UtIa9W1RDwgZSj3O50GQAqjyRDxRYu4QYTuGtVnh6FyPsY1oh2BRzUf4jq0Zsmrjq7mdb67A3YSsoj/3JgODyNfNBfNAzFFXHg6BZmIs82CAyKVB8/7X+SByMkgShBOFthTVaq2SSFnFKfQviEZttfiaV/rdCFX7+H+xRirzr8g9mE8ek90DkklXuIXhEFLZQicXCyjRYsQSjkzOYndCJoUql+/wKa6dH0hrDEVXuxLaw6L137Y4HOSl8GcU0HxupZh2n1MuoEtYagqieba9q0s2qc7q7BeVsbiutRbrbwygu4U+8rKcNP7tR1vNdaNt8BLGAtVzhQmi/ZblM0/B8zCfryUghKueniELPZ7QoAAAMWLh/n/O8Ui1OuLDFMX8NMnXzR6hUWxVATxAtNxKUQO/MoV6NfiXhxYTpuS/pjY9lfkQG0b3VwA9sLAad4Xme5ynO+j2FnwzmJ9CkrNXz7J9W01lzSVwRQ+PuF6h+33vDp2uxMgx2U2t+gJLlGvKCopWAz4J+MsT0NWQnutMQRmoUUqUvU+Ua7An1Rf+ViCuE3xohhmP5mUm26bfPDXV2yAaS8rDwSmzlq9Lg/d61lTzyDN5PHJhJShENRN3kpTwioLvhpuH6oXtt6HWMZBNrTNqnBgeCgjLGijWfH53UpW0CHFOgOJOHHgaMgoQNVLa1N/P8Thtd3CYJuB+M1Ea3oeBjRvmQXbyd0mmjHROfTm/Q2Vzjbw26A89BWWiGvytfljVcxNYFcalxEISoVYSL4guPmhlRE+/RRSPxh5oJ9QKtABugcujwGY850509S1ZaJbns6wQSKALJGvNR0butu70sa+furISVj02weMSKjAAaNP3zN1+FSfZ2b7+r43ycglVmqwwQQ9XkIk1zaDtwAjAyDSb9OiuNYZvhTrVyQ/MypZkgLyZsDUBUgxz1tMA3TmX7VaWDGxHPovsuKLddPXgl7yhBUeDDHC0OFPsOqpqn+d5xgmahIg8wr4wEdzZwcU/GQaKGQGo8tN1moiUUP1o+Op8uY7+PYpHfnDZ4JRBvmnTlhXPPqbihV+zEoRAm+9UZuDI8fJfAs2RYzLmJXY6c9GUxnm9u1Q0Ywz0aKBVfA9QCzq0no9vQJkDFnCzCnL3VUeGRDYX3Kz1P2tWYtegTopEpSvinHZq1rUpcC9C/ohbWE6IUM8fCV7fQ5R3gqQFIwAmx3ZLOT7Xs5y0Xr/D8e5Bf0DzUj0/T5/4LTqDFpU3O0UM4U1GoPwtqLC5/rfv2QhFyarLgm2BFQ/rV1J5Idvpj8GAY5IPV3nerIjbs9qOIseS4agRB56z/G8x3CDhsgjRVDaCPMcMTynbmvtQ/NAezNNhg2TBupAAzKeFCTyF0ZdxFVrzX3GvauO/3jUnvlx7ouHDU1lrBTfar+ytpjG1/qeGtIlc6WZTmgTh0Ff5Os3sr4YOhMbajzeZ7Gy3JLm3RRxXmJ7P4UCyaT22Ruw7p8Tjkyrso+Bnw0QaUyGRo/T49G3CcrC8kchjb9rFUFt+Es136re3eM7ESOS9mFubTZZOJKgXUniZmHk1hhziaStWcQmVEffy1pCFHDnkQHQyDvjfm7HeI3veUukpP6giBIyiFSQm6gUyzPEUpcwTimDaZ9itcfWaMCU/R862BEy1EHuxuz5laJWsDMG8EYBTUfe2JS+77fhqV0rwFgMcIewLhJG+srcwiA13NV+EYSJT0F91MDJ3iHKiRLoBypvksAy+6ofNdS2kwG5iDSIw3J2WhsJyQgT1rfYe+kjVlN4VdQ7tqhmo6xNoku9geDaTQsNFp3CeIk9Ojf2uizD3ro4U3ptos7YT+Dra1MOt/XmRXMe2/ipODqregvnEHW8toZDG7tAY+wGh3rQt1V7542WUZN5xM9lE3p9qrWrlmA2KcafuqvQXlX0vc6vagO/yvEe9VPBNwWTANX1SnzBS3q5gxx7iaCAWHt2b5kXdYHM+tdDvrMNF8KGWVqGB7GGgzjQlzdyY8YxC2ESbDAUVfGqVe96SvFLvFZLI+9YNsN/YMWBIjkXBsa9KBlki1J7pI6By9/8uEfh7Kf8ZroXVip+c6ofhmfgMXghiKc1AZLNLCJRA/bGAjMPS5llY/rIEms/bZC3jq+fFCuVsUzp7hh/uMjun3ayp/hjd2uvKNJxOKKCiUVN2NvfP08YS4Upols4ISHY43u7wA8jImpB+uKexeK20KCaXJEic1wMfDMBgFnqKHkd/lJxeRHhf/zZNrlee02Ce83DRhF84MuAhh1adxRxzSmUXcg4N5ICF9kwSvaWzXhV4704ZeeEVAuWXWkooLzZCuk8422SxEwXmEexsgzVQT8yEuXl7QpIydPWeI8Tdyaw2/Pe/W/aU3OqboWV2s6A7jQ6e5ZrSCVGyz8j6xANo+Xa/l3wjiwxcF9X47ADU9HTlBj0sxRMzY/XcKlMYppl/vv7ismGUgQzKaoT6avoZW0+o+LDAo37wP4W2Bd0DweWFg/GJCdC39+LWUU5yTccBCW60cwOEQ+P5d9/T6zcl7VLJrLOwNWvfP0wrX/wEV56FoJxx/civPeoIauF7sAZd4reMBV+jmPxHtVD9c3AK2tdOHPLQWlxRzCrIfHa4BRG9RHC1pHXQRffkPbdiioUokgFkF3VPaiUU2S+x1nCvabnnsrzr9q3kzPwiSabrlBGppXh8agM/6feFhwQ598aYtDtueMY17wlm7zr0u0+88xmbzZ2tWxlFQnQWEaHgorRabuj4qr6cRZXwvAZDmOhX2FeeJkeRFOQTSEsAAJ9Tp3sVZYaMhD/1yoJhB4RKwzzGIzENx+75zkq+GAPx6jc3kAEnr8VT2M/KGQ4tAbuIYsnTlhb6JvSOwy87GvJqnwJGKF98D4tvzRNF3IYGs7Yd3FMXGCCcMx0y/RApViNcJ1XMKuTvBeej8lg1DDZtc/0NhQsbZaOubrFCYHP5YWFkMj0S48iSxobO0xZ4yIGQ3KFpgv7Ex/2ob/WHQ96M5CMPNVxAef4KIfHgCl1FM9ebmIULys5wYm4LPfakU0NgCQNqbnbT5anjdXBQJYw1XCB3cjWc4hdUTBgQe4TBiPqdvxN80xMqwlmX4enMWfkkgqg4gyn5B/LbLCO5y8XdI5QRJEQL6tCix9afpcsSMCVALilDksFWvL+ySIKAeWMpFoZhgwvAc2ndWYISNouoTOsTEg+3dGm0m9bXm0MMo4HR8mckv729AhtBTrqfuTXAnJLlbaTlPtOVRZutpIj0SzXXBPxGaWEhOyrOnGj0/ZUo2qfWTY+4a/D/KP0KeQr69DTW8d71iThiTRMexNubPqyghSQnBbf6yq3NNnGLI0TU5GZCPwm+LjsU+1nU3UfNBJ11RBLoFmsc9k5BY/pTQ6k4ckUdWwUj7IPn0X9QllygWfp916QqsBCd+/IebE559029o+sJAy0DRStjSO6HLyLHX/7D7zgmHDAI4H34W3GFAWRuj8mFfawVFFVfqUJtF8MGt0N89o4XnMxE7jNX8vo2r6kJXAPjDi5LshghY5hc9zusd8TmhbZC6kMFaUnXVHn7Qt7rcI4i1mcx+p+pKCpovf7eocZnx0Es3Q7FOMdH+l6+n/PGd0c8gHk8WXBvijP+/s+Rs5A7bHri3aok0vq5atBvjoKDM5K5fiTcoGs74IvkBubMRuiCWyPgRHwF5asg/YP/QKKX+J3DIUEGW6NHvh2oDyRnU244ZEDN3i7ZJLWnkMBl/x6qtJfTnr2da1kGL6QP9lj2WZTstl7ET8RGTmUch9hLJnLqXHXsOM9OycX4d/VihQbVNZ1IqeVJTlERKELNmdq/ORf0Vgj2ZMH1Qns4VjjPYxBy3Q5C8PCAqCpdb/22YV/LnjoQS1RhQ+SmnB8gq9de3mzPf8hbw4wH6ERXYy4BLXuh90A5rh0Z+SntrfXLKu9+QPIRboiJBRco8qSCAzduEafKUP3RAdXIc3H1JafGCPIxEvTZ1Isy91coGNrAiOfPfjB48nEJrkXA6SkEgumhMA0fQrX1AqKYpMeKXoI1h5hCtCjUUzXD6jB5/xiK/n5un5J3Yn/zYcpEX5ThTVubtIw/my3Z2zqLFWQ3Ocp0klFXmaNn6SryxPQLGu1zeW2hiWszeoYUNAL15b3Jj6EJMlgWubMWMSqxrRh89nB+Wq9cctf5uM0ikT/dIG8NZ9wAzq8zxM/bcns5gG0DUy5FOTFqFrpyIW+72zl1AI6m3Nja6awKNzlrjlfary9pfMjMbiIwxjcjUeAYDgv96IdC4j1xT5MS0dSCUs9RaM/5kDsHr0cUJ6s+eBns5ZJFhXnJOVd/YAiBuK26e3H4RAtTLbTweBZNtXk1jXdhcPhIh3aSQGONoteCLXQXFMosbFNVWY2bT1ikkbWSMZVJBtYdgJYPauJYmUKBVJ9hEKX45ibMhFejP06kUCTGjN2Fv1XrgUAB8mV8MlW18ZHHUf8Ca3bKlwwhCviFgV6+V3jFh375eV0jNXveNtZfkaA/oFmul6gZ/oNIqNTc22CgXbR1yFbTZDosY39LX49plCBEi4Fu9AOF+Aa94mNKPFe32grCqgR+dhfwwMqBbXUa0hyvJbW56Go8bWuKEq/iwUKKJgsaPUGdh9mFSbnyux5PjkUPBIPr/FEqWufi3ePsNjOvQYJcMAsRQTdfPo48anLpkQb8GOVT9wJ1xHrOrZGvwEMfzxaEI2OQ/7Lmql9FZdulAnnf5Roxd5ToafueuqgRg9eEe47m0sd1UgDcGSkej+k70RK/Mpn4myVBSsxtugEOKUsM5h95oHc8dxHK0i3jLdzfbdHs4LGMgVm3Xqs/cPageR3aycfebyGGPB+g+gPWvtW1C6VygJdJwPGVfsMQl/FLLxiNy6UL9JYaHLHyiPocTE5AHx3DSg1NedtaBL2JiOiMKjxJnY4sATF7Q8iNrfNn+saah8oCjCXT8/8Vw5j9cgr54UsJ/9aCw3u9tOOLCgZ//fIxPzlKxBpIsmcLJ8nx0wEfs9JigSx7GxRSnbYL7jMG1Qz7P6OmngmjUc7nwxs1YcdQ5I0e+74wnTPI/1ngciHSxRajsQIYGANGWNdhC5RmZ5m3AYQ/KeycizZItkKGOwcmkzjimTuBnrfqhWEQzMOyCaQrhMzGILSF8OOjQZCMnFbN7f9wymlHPGqz8/AtncVSDMUnV74ejNfmSJf0gjYGddS6swMm4pRM+2lX6zUhNAPzGR/b01DTG84+eN8qFdZmf3er3dLyUOq1bLF3qNtPFFxYaU+a+piaVkwyLXlzVDALJBP3FAhhj1S4VYqNl+/XwHZzsjyvXmFiS7yFPZCFm8ASuIpXy0OmDOPHW7y3mwT6scxSJvUPg/d6RTqug5KSGS5KPDhwe9+MVTjLWfRMZ1MSOT7ktLK2ce2yaoUM7HSoYFkmmszSQkh/p3EJHm3iJRMMcJtGwi+5hfvJo0EQ5UtX51VwFytnNKVDsk5O6qgkaD/prN4RKfrPga5h9eboaon8VdNrNUnc3r1YTRIXeHdPeBFZ8AQNUtFDyiqQysjQnLqpsRrYBa4CDRwcZJr1gXcRivr2riQMPfIK2qOBSmoiPXvdhcN2CY7MaS6XtZFiCVtx2QUGhzV5UiqF0cBR3962EGrpo3npgRxRAd3yS9boR2hnrA3SfGluh2SwmobqpiReBSMgpkEuSSVoR+7Wbkds/Rrx5Ft9Ws5J0xqqiXA1OPOrSw5w+yHx2VDp7hynFrjvSSMrPj/v2r85UdCBjgzw052muFDfNKyQs0iVticp8UUpmfNJdXHy0Eo9handJg2OvHfoI4JOWVb1yJGgd5K2VQMVTTTqMMEhRdfSI8qbAfAtLTbipGMeG03uP0Rp7l8O1UikCuRXCPA/Z6rarO+PfQuPMp8fltb0HLQQNqeTlPNTN+vUeLCgG1uSBrFLYR8C7DzhBKu/ZKBmoPcT0OmKK6XZclKQ6a9Dk85ARRt5YWYP5V3fQr/xPrRgKKYIUIOxErVj1eC1+YWcSzJ/Shk4qU7xl6FNiNb4wGTolfE+nE6Dwbjw9+KfVy8uKrSXNpW+mvKTtQAE4UfN1Is6+aN+z8qv/rkr6ZzrvSbcfd9ZmWDY0gCrL+o0Bch6OUydRksHRaVa67cMGylmU3z/KSsoCge3SsOHK62Su+C29v9HIDZEfngPHJPG5P6h7P+HQcB1vxQpHKuk+oo5uoRkktDtSJOvfgBL6naJuiXadf/EYyzaudKT/In+LcbyvX6VZaJ1swPCj2shPzz1vEQeXky+cq0q+RAJ/J60e4mZW8w9hRrKxm83bNRhp3VRe5C+V0iW0KZcLM5hJnE5L8Mb7v8jpoXsBx4Y0yTa5PQKRb3ML4/VvgIJ8f8h/nHsoQisfxQ3U3raJJPTLvzQ1OvuCWkIL8xBDHlSwf1XB7lNuBfyFm8ofXG0ZjkBkKwMJ4GXUUSmuJV7+TjXEsNM8vNNQU8iTgMz+CC6dnJ8anr43M4qEW5XQD45Z0GLbtRTE6JqwADZE71mbx6YxN5MnE4UO8b9f8O4M3BUWC87PkrvC6lpKb9N1wbYLXepvivbGySayD6Fx3Vx59nwLWnDG5X4aoXNXXmA4r+MbjRhHeGHMLFDERH8GdhrKSiPd3vPmIPGi9/0uLb/SQzCoIDyeAkD4fETmJrkBmfAa4G/gXb2BYfr1Lz4VRNEtb/xfLr7f6O/MPw+rTGQxEit/HooOtgMVkYR1j31KErDTUhX5kUFm/1vGH90nFPZWdFOrkvf2Ql3Uom84hua/HNuWVTKtlmHKBFRtYxPUbyInYy4Gf8lYF7uKIhbZ5uKjg76hM0Zdt2LpiFRDzVSgsrV1X7bwK1wmHEhDy+6QaYsoxTrRh9dFjnDQ3jDjCrfDdNZ7KSGfdMoWSWHv2TM9VIEYhzM0jUbGyOXy2Mch+V67nnyEIBPThQxVc6VVi0w+nXcJbOOF164CXmyJDflZelU+3b0jr+8wpRGoRtxvAaP7b22j5TXlTEqkheM672K9sxOzHaGgfEppXTXekHGS76DcFvA1OmaBla7pjtDs2EoUzjVgD5bMJkWclqrL3FEizd6bMjGoyOqUpKmFhpdBZSferzt/+SBrXugq1NauCnqIrem8CorjLmRKZL9exnGSmoxpJpoeltsU4CcqPGH9qOl+MU/lpNpLE9tvDRBbY+J3HGPsXLAqI+eMF3uvugRd/TwTnTtdH2+2YiktavpZfzEChdprIjI27S7ZEL35HWx7yWE6tl3i1ys7N//TfMHg/FVE9OmQDyQy9ApPl6O0GB3HkiT6pMN+8BXBjTEh3KDWiEA+385ltjcXX7slvyunSq9lLNGVPRrLOlcf7iGF4IjzmetxA8YkMSJLLHR09mHnsyt2fQzbS2uo+iayLpGE6+pMS4lPXoi6amTVKLwFVc+05C33Sh9so/RYgQfnRNPARM3MQNByP/P0ypPT7xYVsJbwPKX2vuC4LxVmn5CySwup4HpnsgDvIQeGV9Sckapgu9nV9VL5WeMtFCtJDPTMsOCbiz/LUIS1wS7abIyw4JHrp6yY8lBSJcqH5vAukg2EzU0O4SikQ2FT1bYZLi/JRfZ8aeEklQqZt7WcoZofVBkf63HqSxDyYxuRZ2S/j5q7s2B2gikcEMxQf3qXzahI/pSI8w0CRRUKgS3RbEhL+qHhrB89Ms0WXpMMfVWzqExZsYLB47aGYq4ZW73nMW8ieRBHnIAtKQ2RnKvzutz15sg2Mx6q0xOOica7JzFaWZjt23OHq/NSGgymXtlxo0E/+HtM4/d2Wqi++xiOdT85X9c2sOpepwInTJifJguBJSEA6QiS4kxavOKlg1GXhG2c4TWa4w9kItob04FyXdEd2wUzx4iJ/nQbuz9R4BSB2/nR9nXeBf2eBC8ecD4RLrzkRoTpRX5M6K0Fz7dChF7QJ7x59ick+9Pnu8IJh65ry8ScNnpQ57dGMOLjYinwwfgcMCYDWdEMYYwPPEGks3DR/3u7AFfzk2vtC3g9K2toajbsjRnrSNnit2oCmPZl4X//4BLMuQmVj2CfS01yvmibyCQt5esAww73aoP+3jVs/S+nXHmi68aRA06WqzU5CsFuwK9YMkYuo6NRDesJEjpnEHFz63ZqCKJfPZRM/yjUsqo0Mr2WJKqZTv6+dDrs5T6cAOzRw6Qj1LDdc/dOcK3tQCnUE3PTB/jR+eH8pxKaOMuoQQPTyxqAhzPWcpZHKjOIB9zsDHZ2MvLZThEGOV31yZj4qZ8SEuUCo/7wAIFOdsjU6nr75lvtFMFtLTr9CJZ77v3/9zFAA4QzDRzMMM4mASSkt+oLgDWRwVlgwWXgV/MnNHgVXmGVlru+ey/5EeZ4WCfbQ1+Sc/ImzOF/XxHgsDxDQgsq/6QFiEkjiw5TPHgwPt9DGxt5HafOmfIVxCl6iMZgIlZ9cHPuD50iB4zWux6wn06ytTVeqAOWTZva6sMk5OrfjNFBZ6/7urCRmWDQRR615UZ/XfhPmkjfXkggA31DoQ+uNEtrzPDRMy0mPdAukqFANkVQpvOPVu+f/E+ub7NXhQVzjMKo7/uFlxVLHiXI7Y84tz4t+pqF/7qQhQ/GJxunQYvcE8EO2m+bKt1aEQHKOolcA6Kzhd+qvJrfdm5++DEgqsuWmncxOEtQhpqNoVeb57exOMo6SGeUzvE0VukDkeTwEaoIGJUBC6J3cR4qiDQoRjWW3sSLUS7QOIZi349vBMg4Q9JxifiXdiJHY44ma6f7BwsIu9AauFex/B+/UMJbSmu6t8hDQ7qTI6EzgRPikkzgwswMdOn713kcKhaWr0ISfRsFJctYSRayyYzlWphhzWj5H4NNkpr/NDDgXV7HVJzSV/LW788snRXhNX4uyCWNMFPamD1UxXh8GlS1PX//FE+2SM35lBiwhTO4N3ra4iYfLKWc4dqbVwUiX9upRZk9h7yZhT6bovXdYW3zHX0iT9rBglxfTC2WaQKhC300Udu74AxDqazyRF2PYPQSy28+3QHxujokLWrxh9DT9MHn/eHzxF/QPZ8Vt+bB+s9W8BRdw2LZvdd/PfbSPZwU0Ly8sKRi6lnU1eATHbF/SIo/23qHycEpfs3c+Vp0R0C7oO3EH6c0k4JyGhzp7HquT5ayvUZPczRxr/xQxzgSf3XbSdayTOEmqTXtQsO42NwFkPwpp9lRqijI+bY8J4Wx6xcrLRHhv716f6fN9CW/mOzlWoy7AtLKTp3EQWgi+0aNeNilx3LalO2E4jzomLVvW8l5jZVlmpUfU/F4xPxbJ6z2Yf9dfWlXCWGlyOP24SLuEkgwvOPze5g8lQRE0wJcANm50XlcyTsru2x1YLVdmCdAbdzai7z50BGTfgGXci4w/GBx/YPOXEe+uirPNZjCXDqOHGWqn8PWLGBrXJSAFRz3rL3nNS2cDlUIZXiHVMvRZ3S7EL70QQ9Hxs3fY5WncpRSJ6ekEzgywRptPnQeg8DcHNz2gG/VWygBH7gfQt/uNHSKXNQvS07hK4UxN619VktxAS39XKz0vhzWorTYioK6WKuNBxqW9hPcEZBHRPT4OGLvt91KmoU927p8H2skxVXRD+gUo+g9k9dfX5o2GX/AWsQbcgsy/BDll3k5eK+AkJHZgDEnPw3tBo60E691HeDTEs+AzvSOikkIQALqu0RzOQAx2eKI3eHE40CZ+1uE5WGj7F8lRoIjenYSOPtCprJHDtk7bUshvlpHHEB5y7sJHEXGo8dbZlTTbbeAIivoIrt1jQBQwoNvoGndAFAJ3obkjo+LbevuVDBa/kke17PjLE0m2XgSCZx2pzTo9XKVrlAdh6cJzbrtTSGRWACIi7XlM+NCYvso2evGvOoxsXR7P7SEDyx3v7ujQFw9Z+LgNRIyoFm5ynq5xDYcgmTZHaGIhmMMuhNVSsz4IDuh3qq/n0YZ5Xd50tMdGVTp6HGfADRhk0b+8n/Bzhs2s/x2bpG2ZhpGZpA4goKe6DlFAfzNhprLu66I/+JByJhVHlHeeAoh/G1yFtVaRgulomj/hyOtrde/ucRLa0ww1QGBk+XPjWg0i11G753xKEDPEDrg68C1K1buJQq/iXMjusvnMFXq/EEB+n3UGwwWcODDYph6G/KTnN7jJ0TYLd7KmdsU8YFkDk+zK8CAq8XCH52Vdxeu/eSa8drRcVRVLiwfaauS7gZ/9Y3jxiSkK2d83K5HvxWWMGVSSJSuuNgsML1qtXFooZ7jwReaeYwUCLlAr91LcgV4OkyWznHxYZeBSdhFlk0m1Uwlo1EbL7hewSmlMUp+oCG5ktURM5PeX1PmFCMIqlaxTN7AjzYIPdIyK1mjA/YLmkfn7hmHSZjCAGEVRpZJj6SrFYzX4JfNcNh/Q8rGKKLp8B4a7cb/FGWpauEDNFnEL9syTgJETQbrJwQIbhn+027dexArTlD4/e7GH6TFyEP+XekHdUr+NY6u9f5fjC+n7UonyaqKtj5kGbKth5gYEpFo4hCBlTzT9R2bQqdCA/vcP/qISnIvGxVHSN5JWvH1B1IEFH1OsDgnjgeAB1o+cH+OkR6kiI/YB14NWT5ZN2/jEchlGN4ayfbPpmjwIMPJhZS75taHWbnEyHF+TrgzUxuRCJEtr61+wQHCQAr8XOnVyb/W+b4Mv3Qwr0psIjhCWY9zASK8jIenW/PmLzF5NOg5b8l/o6e3SwpSpefQTfPZbuHYOtJ7m8dyiUAhuBNMyXocG/JL1lDvMz7zbR1KwlB3vNjFsDYPrjRaSqAzDSotCSzvnKY72G52b3HWFV3A/zWRLmxRRH1Dj98bipR53FMX+MXjFuSpDVkQBM8I3Qo//eHdkfF4A2fxv3v8LDn9w4xIPYxWbv8UPGfh9hnNNQhKgMlp6kr52h6Thc8PB3bYr1+nbpsg9LyBK8ROKrtXAj94LiY63ZggUwzrgXrr5xXdQYAoW5ZjuFuuz4KrW1/RwWxDFWQBYUgQD8Tm49t4WN7qs/iZDyhFqdaXkSAcr8mUAMM9gldtSrHLT9y7lhsV5xMk0KzNxX3WW0Qs62iyfArLFFLSnCXTxuBm4Hn3ZWIT2BahPG0Qb8SetARVaVGRSYxCGLt+1y1iq+DTmtxChlzN9VKvs7t8dUA0zdbwA40z4TJWdBUQQmd/Q/1GddT78FtjzQT2K+j6O80YkZBtrMTWuFeRsB5om7mNc09uCGJb40/iKDzIBrpVQVXAx+5OFNG28UlGAogHqNEVaziWOt8WknxemZut0SSTsQDL4aEl/xskhUVH6puD01tsZTGWUGbZQHcL5yDB6jo39n6BAxa9KZpmI+zN2dgZUd4J32q9fN25nih8R1xtuFBoF8xX1HBWmkNRvvZG3h3av7Ovpdg1wauSyTUrz5ThJ0l7d+uUqTmWyDUMgmWt3PgRoYl4dbeQVqpnzIfps8XASS+ZFAaU+S4C8w77GcApNY3mJ/haC7NYyBT9mCT0tlktq3Sdx1zGxpMFB61JV0siLJSaulyMwQ6xVT7UBReIIuEFvvFc+7qEJPQ66r11RSkAllx90pkRkT2bp4jBu6sK3Eyd6talKiUuTgoQd6Fhgw/xWO2BzdoZ7yhTGVp5pTscrxGrXPWR/sEwHyAzQL8Hv0AbLov9P879bUOOecClQxXZMYND75Yh37jMTDPSGKBISXjPjXsGmCR88LRV7qrbneZLcCnnvbtmbw9AsdeDwm3wsQZijQhRb8hGm28Yh2OJ7nZ/J7fAdyZc0LQF2O7EfSGoHU4K15FwlcT1rrtVaTBKqrTWbqlIDfkFdJToxqf0ikDBOvGSUMdYq1yx71CuWPSxZtX/cBhmL7LDljuz7GzVB+X8v3mQ+zcDc3V54foUA1nfs+0VDhoEvJRDFXBwY8Qe0lCHH4uv+rEbAPENgyPFp59dZ/XMQ3V8aSscRo1NOXjaG4GlMRhoOrX4aljmSbPpIcPemhLv3L6FVg1ryQdoiA0AWRXigWhyJ4BKxB/J8SA2nuIRdfel3i+/2rPlmNfo450m8Cc1cGOTZzrq+h9sZCJmAktCJI/zyua5uwKEfiMwQvlTMW7JiO/btROlgEZio/pNnS97nxdaV32/LiCrlmJClwW7YU3fU/JIwnJwFOQ6uFG4DQ3wZgu0uqdVxv+YhzzoZhpJa1NiFK20sGCN5R071jFQWQi+RwuRWqlrhv5yE5EKZE86/FzhBBE1l0iPtA2AuOu+9BnDP2w/wpwB91It1VgUZC3XwCwKSTHTGwMyOP0MjXg82ir8X8Y9iwrZm0PkXRp0/gK6YWe11yxChZ54XTyTCYUJag588xTfW4XQvJaLDMKadU9pSPPMvHOA7uL90JmGjgU0syHOekjKZUny/q34HLbYSQOfuNooCDHMfkgaXHiFv73F1v1J5puQLzIaG/du8NXcBs+LZVNP8SwnDvqb821rKs5qrct22h7mLphChqNXXBDvsAmKNd7HFYz2lxSuZqXzUOXkDbOkHNzq9tyb/hAucuQnjKNqPdzZaXEOUbADnW2MXi3bpL9AOUvQuwcZfH6YVnAvbR/eFSo4P5SpswG42SmGSwUlnFMS1/mDR6nb+Pz7VqL65aTVA1eFmEd+0gXO5Zkxwo0WJ8OPc4B0LMw2YPTEpO1MydEP2OdcOLMaqfo2Azry6ymfdWypm0TEVBHpPeQM5aUgudJmIQ7hYIAcfEy7aYRMKls3wxexi+tHSNaD0e3+wSmiy1YHmC7NQOndqUxAoS9b7uyW+mMmqY+SDz3HuaryS21Xv6ek/Xf26Wye3/c0UN2+QxixqnWymQQtCRKg+wTyebXEY2w8KbhcKo12Q0CqMyqlczBuvF3pBZ1RLnLS18KuTG7viOGwQHbfs7LApmeZMldm3Q01Wf3KRLsb4VXZslRdTsrFcdv2BNgm6nYxMHFW1shYUP4m0GX21sxVLJKrytIFEE+ZASBhDU4B4k81aZBil717+8Mq6cQqGwlEXRo+YVyGaneOcfILvmhU+1n6tVUuBP2dazjBCQtg+7+4qa6E02e6ztxsL7aAu66rbJu6Xl5Y3NerWkwhuwyf4faonGq0FdB4IgTy56t8/K1DyQMBKISCA4J2iRpyJ/GI8d55FaoXr5RhwObM8fI3njTVt1tJtP9XDmbzvTsNm5kozKu6F9KasOizIj+2vV+2msrDw5KJ24Tsun/41iGLk1zkv8wEezVXRxorBamr043Bvgpx/bS/Hfg5moJDiwRbeHcwH5f8Zshg0YEtkqIZ62/Q02U7UMmzaB8kphl64KaiT5MiLa9YXp9fs2UNXHV0L60yW1PvioIE2bWuGLlb8EST05mZrNmmrhtCoLTkMB144/mVgyiAPqnIyaV1NZ+GNtx7VQFhkpVavitYCxmVamt1ZMwrmVOWyZ5Q3RPx/zMHco0Bl57BFgnbwy948MZ764916KndI8KjRTphDpMuvBRXnThEcPVZf7L4u7Iv1yNs1aIhPuNf/AaynK7sXbrIv7GQZEyzoKIPNFznoWrMVdHwJEah9w3bQbhOJsSmnDAuAf2d5An6YKAQwNoIaxzwaAm7odnCkQOQeGJvFz2VsBrC5QBzOBLQTXL505DVEzLCyPe7PimMJVBa5SN/vmhwFIXRAmfBsziS+AExN4BA48HYxomkF1X0+3AzcAcgCMETl1QbnVUhLup56Ocvq/jmPsg4ra5s7Wg46lIHwVHnriRiG+wLk8LvqC3fwhU918ioaqYc0a9TS1nfvanz4bUDPa//D7PjXeJluL+uT3pLlT6keWTexLTKWi8naGwK/yrAkBMK4dO6RTxYS6JTMeTpyz+rfH08Vf0tTXXS3knkSB+h+b9apun4kMdAwLK8zmldstkvnH1Y5tiVk8FYje7e2Fx6vcFKMIlODG2jVbefwJXIJxdyuuhIQqXCEzG++xy/j/r+FamLVzq/up2eXZ2yVLrs3/xM9Rx1ZsazPhlqDLjxvRAvpK4OGd1SrlRjRrexW4R52ACKS9aTMQWsAHlraV8jeV8PfJfqxLs8Bc1nFxtRQeF+WyR33EKuXFV2m+ZUVAek0DviTvq7Xbcy4ze41iGVlwViJ6EPrEvGna4ly2DPiysZoRCrp7BWNgk0wIE7yIBop352vtoxskSeNU5N6PCCU5ePFCnLaqm04jaI9mp6HOUR1RJvnAjMTFjrfuPQo9UhZA3wAF9M4DlWiaWU/uuMqSoWwZN4bijboAjngkLk7RiSuKSRXiZbTsBTcdpNRpBTMC5n3PvkDBTZpUxKKIUE0EHCkzPX25wIRUYJfMeKpz43pM/a5RhgPJF3Vjtamjgb+B/JoGQI1v6O2v7/GfroWi9waCMZ8DJl9TPZcKfe/37BfvM1CrBiAA3L2fVvs6tlE9ZUj2EcBGCEUVM15dkvH+KRPdwpD33xNQgGr5UACfOHJBDyI1f3/eLNeDnYthgegjM2GqzdW/FaPhXI0U6L3aLMLJv1/PKqyzalgTaHlasE6dsRnClcmC5iRVXptT3xnwcIhbvP8JN2FIlKz8yTYtCpW1HCCkIdPj5joSW+y5IZ6pdBQzwqWefZUwdOmNy6V7NA3eHRH8avTnyI4jd2785BV0b+IhmuMDm8xOS/J2VrdyfbzY9nh73mggiBOJQFPNSwFvRHkj7bAWJdOUPdigK2qsrSKeLFanKLkMUnLgyWipK0m0ZRwmPHCI5+68RWp9uXB4QVXcvoE8ZfPP/d5t6wCgC2hYGKrLcIfxyhhOaFliDj2jQJC/OgikULBZWrfD7rQkAHZVBlhx3zqD1nt1r6aJaPxXZjLqQtq+eClZdRLN3hMNlMUNzFxHkcS7slWKsDM/gBQQe25PbSKEf5ppNu6ieohKW9f9WrwzKx5nm9h0Pr/65YIbqiX57Vx43u7WphspXApIH/MGJkq6raYVzPdxJo+BW2wCQARGGZyInZa6FQWmQdlNr8F7AD02Sh1V7GVeL6Jt7Uol2488yrkHlLtyQMw7n/UxrQPsMz6CA7ZK+oJfI5JoArPZ2Pem+qBMaqObnJrSMZrO8a6HGk+L12cAlJgXDkQoOV+rA5JPbVensKdmMTAFPwaYx0aCvN8ux6t0fSvMVtPmqLtYNcOA603EHTU3VCM9Y3OuXZaWeJiZ2iDFshvMQYZrRwTXsCDsrkVzeYaRvApLm0DhAu7uO8vTG/S2AbIoSxV5SBvfQ6hLBeVjUb712SparnPMngFV6EZYXN1383etPSnbUy9/9DNbStlPFALQcPDZS56G5vAkqCgIMcZLDVOTfMRenz5vXb6PsQGZVu+H+1bBF9m2MJIQl1TAezDOg5nFseahROMjnwr5+aD7r1fOQrSAZLkkg2AuCBOjGyYf5aBrQUiOQ9KtZE7xCIE+ybaH0SiUDkMDnjfSMp+azdHQhInbngWbwvAsnenp1yZ3ru9sTGaoyGzLQGRDMRdKilLtQqn9SwepDp0dQfec413wRPBh3XEap6RnJ6WuIaIbeb1bM3WYm63fDrYY80WlrGfoL/CYeWEs+3CwKIYkct/aySnjUf/RlgcCQobBRk4olAKS6beu71Y3I7vZjo+MpVG6p3kdrsKFxtoR1DHnCq/awbmrrro6bTETcFVO0S1u3mwxlRWh3tmXx1ApRBj7QhAOiHNF/ss1gF5vTVf2NV+EFsibEDEKuON1uoJncVOOeSYYB/+0P+OQ3ArnOaKj1+8E1fVtIxY3MFfg+9AjIDq1lIVcB6PzegChIm702kREtjo0m3WHIgM7Foit/Z+GH8NEDZAYovEcMK+Y6EBuntqf7CqnvPpb3c7JWLXNJZQsxnpsAOMXP+VDV8575tKryzyIYEHBGqbDZ32gFThSpT3+3AZIjK67Q7mM7iV49o9HSzfdM0ZxmaTJAdFFi/5YgOdI5IvgJmCj9VCMd++uBqSxAGy+ybMyTQziGx/1Zb7dxP2XHW5NpM6PuICaXFzGkT0uSrDGA5uZb334oMTw9NOj8aIh95oae/kTrRcwwCVZ6/Fvgh+DmrIRwVuf+ud1CO0E2a8BT9L82GHch7rZbiTNg/8xMfKIkjToOrUQVnzGBD6n0Qttk53waUds7ygFVvKziV/l7jbwvSBAIUZfJxWjj97S6FdTkh0iLDkEh3pT7TjiVH9+CV0LQ8ocr6v0jHG1pqeLsHURlEx/1VPALZb6xL7k4eRTJOkmWfmC7ARqJY4g46DAcQVVkeND6GIDJXh/aODz8LCsLS5v718ncRp5mze3gxYDRz1r+QAZjYIEPQBwnNZb12mvUPyQYDIPWDuztQKtXqAGOrJ116MLDNqk/mu9qrtkSF5r1nDTCIHWccReA7YTRTdapFBlBmILHY+sjZqX9vXuPegjicmJYG/YFYHSSi7ZGvG9NoXfNi7j8L/FMZiG+dO+6q905ezphwGos9hic8XLVX/c9tLI1YFxFaTYUqknl9GogpZy/3I6Nc27+mZN3jFGUky9ORqkOEE1gwT3nQGAlkF4XZOgKL0D9nhe8SC720HayTtQFgtaUDztAfbedt/J73+8CD/CQ9m7TgJCru6G9LIUfG1ZSIUGqfv8HpLBLf+Fdmy62TRq4WtkAMWjlgo/2q2R1PNFBuUbvBNcyCelCb7b7RMeo0n/LppsdaO81vvblQUwXhZwnaefCHbPrQpqPqgycVerHELUFIhGkDr3kxI8QUOd9qc6phRb87XDz2lAOH32fqXvhKkscpK8KHsf0DFN9jrHB1lpZAO9PoJ5tRJB0pXGbWUMxsAYF4m2HLmfnymVDnOBNtVn7M0o98+4fr5aRWqz/ytK7Qn04ewGre6j/QMLwqI/amzU17riLIC6QQzRhjGLBnMHywkK8cX/eS7c+4TwFsMw+8MkvozWkkBQW726OuNx11PEBxL0SAIvL+WUnsLZbmaMDlVtL2YuFOOPuo6FW9u0c0RjBT/KZtvdLCQL004RbX/qP/1Vn4TCI8ZTwLd+CzzsYUo1CBhTsHqy6YVLOU0QRy4JhJWOhePZfv+ucCvJBD0Qm/1af8gz+vHfjENiKNMAVGhQw2BnU6TXEhEvi66NM+MAkk2Cn2jrdBpV1ScsAyWT7vBdRonBOzcAMPnZu/KaFa8ju3lnkxWybJBpDzgwhEnqiOaiISvhlRYuyHoEaZMlmkyWRq9fzE8g7mFGIRZ4VHzIjhWs2ieZOsOEYtu3baFVRAcyvYWlfFD8p7LCxgfHP/MV7SmbIpyLuyqu4wUeZUR8WyTdq9ZTeadS17stcitTz4KDErzmcpkiHr1/aFRwN8+zgBdTM1GDCZW0VKfU+IoqGiERfFLuRey8imvdT8adju9j6rIHSkCkkVhbOj9xGbhrZW5K0dORX1iHxoJLDERbBNhxz04Et/+G/BaODjvoQCUxXBgMLYPtZxlu9ikd7ehYZIHb4kmjIdpkbHAf0Rcs8KXKNDjRR4RfVcTVO8M8NyX7sSd0meVG0d7G5p6yRucggxGuE263evV0wsJjveOJvNtTzF8gMRgY0x0jQuuD9dzP54WHBHufw5GGeEvIgf3jGDUJAMnoo+7yS/BNamomp5R3b9QWq7GfvTBELfDci/vj+lu8pkJXUglAJPeGDe4ugV79KeqAcajl9eNpLZC4kLrzhZXF5j4S9EnnyPBc3TxLjRLtO2WQMuDXS4/ZDD4wCMoqA854JvzjyY5yvMvyJXEvSwfmc+XhUYTM8M9F+g9RTNLxlhThgHj6wBUtXjW/QBle6DVx81OXy6G6BicA+uX2Md5AdEp4HlhvwXg5rRNlher+Dm48TVHoaGLS+6voxV1b2jjoLBEySe7NgH/jvAoFwwDkVsp7sfi+3d5CjCoDoi+KRLjvja/ziKF9oIpOM+7RcrLBtgA+oSFWwdRuNDwlIyrBOc7LuZSQe/SaiRi04gXSVSKu/zKzlGi9PizzpKMMUYaq8KL4P/O3BBkTDXtVCfWAOg8F8pBq+oL1rHaK7vYYsrZTF9vjRWQOI6offdH3pWFMq2uu3l9hG0X9/LmiCXfl4Jx8HgmK9z3yFQRwLHDyyFFOLXxor7yxts18u8AR0mhoM+ZCHkU0jsN1elg3tVl02LBry3aCDky7huLeZb1ZQiuiKw6suqNOA/PCKGR5N8O6wXop6ySLm/R7tCMg9hAa4PSskX8p8Zfl1RZn2rx4WD7vRpuAMR85yLh0c5TylL/f6i0Xjv7FDPE8F9jozeWJM9x4CxYkHdXkmWAz4CuxUcwmyI3VjRchNX6Aoerimm3Lqsqe8regyLtdUSxqXtrWzIn8sqamBntqs7CkO2W8OSpoVCv3GcL2sFcp5/25vkRFoOjLzL6Pj+H7HBBI42UERTA/xW8Wu9FtCy2RgAQsQSULJObbU8CwQz2FyaS5jRdFPJgXLghyS5WJQCy6ALKai/xWnUpUjk90+AjgGx37wUcyaM94iLMhA4O211oe+FDQmVeRZ7xN3HM4SOFe9nTlr1IPvTo97rq91qqLGMZQoTRDKFm7+ZdbQFeAlt4cn9Pk1EB9ol8SHTD5B0YM//UbKXhIkXqpCxSB1qh3r9aOA14URnNnHV3Hvt8RfDZZKrBnxCvz8auwyYSAVclzREYckr0zFQaNLcJIv9LrxwRFynPx/7qWXR+EOIYM9MVH1358a+MBmKTXI8u4l9eFUtpUSbYbWEAq0V4NJ2D1OnbNibGNRsRoAmeY/4Xk5W13OPz5FRgwpU6EcxxiyGeMAAvmxddCYe0ZJPh6NmbzJ63i+yAlXomZk8ci25qAcmSlIaknux4/g85IONAnOrXJ0yIpqoEkQceeUhYqh9CVGRr3e9R+DRNghXMQeNSIAurfZfeDOXhWiv93imx04faMpI9kPkN2kHN7AY6UnIjH4JTyu+luJXrcWoObsrxaog2X4FEhaoqF/ZPW/zDS0jkidCcopTeWYeZEH7XaYAhIs9nnr4VAO77Y0pwZlcg3q/GJz7Bczj8NqNgckpLRlF8lIVI108hgTmQLyV2wNwNJbbVNRaqUuUGWGrDpQUBoYHE1qLUc8oc5mZUvrDY4XmFuZUSX9GitbQ+Xu9UKGxbmOFokMwwHCYUn0LC2bxsD/sWRimOV7H8h6M3Zqqgi0ZQwAIx5dTkTJnJOaNyLb+rYaiDPse7YrqwQLopY2k+tnWJymaRi9wf6QPgDME27eO8a/POAxtW4wCLYmftWOb/9llVdx+6JB+82nfYzbjsnSszZqa/R0WIJJRM7RpPzxEShP2BSvEZQkHy7YJa9lAxXUwm9MfCy8mWtZIWp03xJXGtM+Wh5TXMgltoJ4IoRaBa+8Spu6wSoD6fAZhG6gm5LndJA84YOEB95Fx7zlyUJ9J73+xhNDLK6EZkLDfPQXlYcd4thj9qj4u2f4Jm6l56+pRjVr8YrVDg9CNShX7X/pc34W2eGS8Sl3eeKBtpC76RMilvddAPB+i82FCLnxyc1/BuCp8J9Wa5QoXStopby1f2Yq/FzKUDW8hSTldAhOCWubECRShm5V2r6yccerYJkta3Idg/knP18VivVZDuwkDzbF2bYEttns8QBrg0deaPkb1N7vfVZTRaygaDq2m65ZRaO4Mah4Y51Z9jK/u80OxMvOeeephJaUNUkgHrp/qkefmlPYDDYqM6ADVcPrmlTWjeML3JXtSxg6k7qJeJHWtmek0acSggTzCiQyVGZAyYOASSS6ZBiHOVfpK9S4ebLutkeDX1xSsOdOWa3WwPTaeW0tlUUUNXHdhywxsoAKVQzl2HUen50xjvJWnIh3xqtkKxTTjDBGiXKAgB0/ru/ZBTAe8ypa3E7TJZwckWIin5ST+5JItDKdZkGzvkJuDmYjdx0hxLLflAfD19d+qgMs/Gde/CpUn8Bmnli2DS98BuOhX4VN7eecIZb9n0cLFOBb5DAH33FIsCwkHmhZjsd6TEa7unXIH4FmIr2ea8DcRTKkKFBXHoq0tyG6nDlpyf9kmkaARPJF8utDg7Sw+w8Ka/RSG5BAVilamsWA0R3ydyCfUk6NdkLsW+rrVtagzRrLiNu2SvkvNzwVejItt0FIK8bgTXbAw2u2/NcsG3Wrg1cizaS4ry/eDLQV8jOzbz1W5BjRY6+Cp1ofdEnOo0KPMylhQRFxLru0HfodN9+nu/QY5wmPHAqTIje6iKLJXJR7Hf5PKkSzMPeFbPgLlBbW+TjcmOd6Xoc+LdGWOj3ImP8v2aeuagmR9UM7j4r2PLmB6++9lzz/dQzGhNhXlgvNbHs+6VQRpmEJJxdVf0QDV5VQ5mmf8Or5iyplf7hPkyCnv776sCLVIzLKgzmHYW+k+6wPKXJmRXOxGa2Us4sSKDsfieAFVK71PEdXy3K1G6pCKTW9KhQpeeepAN8FKFBg+U0SN51r0cuEDx4FCA4oCR6GK1B9+e3BaEMHpLRje2gOjQMPn3gqgdq8VCXZdjn2TvomatIZgX0AqdvXJNIFb2QenkKydpLs0ouEs56pDB6H5ztP8WYnzCMi5A4LlwXDc4Sl8YeUOcHiswKqJWlOVQqXSQWttdSMRKElHDX97WF7HZkG+e+NchIPoYDLyndjmlUaAb+b3Ka9ZF3QsTdAJQ9SsSw0Pu7mwypt+kFGUGuETliMAB9Vk/29HgZpPxJ6CtJcOfvOPkColGr/jxvqeaNaHF89L8jQIEKb0G0NXC4/0DjpjIIdBR5kZPHTJOQobMvb3MDv2NbH7tVkfd85OgcWDAVJkcEFSgMu574cxDLG/gsMOsEmpa3u6LabE5gd3DSEcJ5AjxqtcprQCcc+vEncpfNRw395FYJFFUuITJjGKWkFuzsHrLM2FkpKcIBNIGm8+gJ2aep+Xjl4uA5LgIIFR+3MtKuZjXc7+X75/DqFmQPNFQDqcZrVZtVa954+qebzouZOczBTUbMrTI4WW6lcJ1du1PhAKxkCY4CedRg4laYOGuvoKf6s9eYbOrXPyhIcdd8lAswGGR1SceAU+ohR9sYHM1CBT06xyQD4phQkfuciH8GK/rVFIwWYLXF95C1xBFPWZjSK03/Mb3Yey3KebhO2VQElj9VUVVxh18glLHlyfVvuGsJ/DUXJaZBQEMqlntYoAWJyLirASQBZ3no94m/TFG/Z5uBW1xQ/BnsLE7Hzsluz6tblIAU18MamAkK20fdcOpSZOfGuf/TqxHhv4ohZZSuTTGoUH7r9FoSzcPFkMu3MTjFrlKsfer382LInmKchFbkYyzovRNRAptZVM1t8/mnkHAxq2sZQy7+8MQj+2xA8QghMMbza7thSzx1IEY8eHThkKdo3AJ+p4CS6miAvKm258C3Ylj6n2dPqOy9ii5tkKLtCG8vvl3AlNf1AgJ8Raq02sbIEGIvjBRXNlmTjbYAGPQcKcV/6ccmjZye9SG4vTITwlX04Fnl1oMYGuo8h/xe2gZGRITCJsExJ03kqGYsh+0aTAMWX4gzPMRyejlBzxoTd8mriyC+k2EV97gaXw7/F0Nizb3oXFXN6cwxS6rt1F+omt3UXDwZRgo4/FDDaa4VQoVuF/PVVYgulE6oipPUQ2odD5lWHvUfEeLpA3BXC5WoH6E6bhW9DfuZd2qlklpqtlJN4cHkkSsvsm9gAUa4MIEV7EHEfG6Ej2PRJOs4FtXHVPg1Q7Kr5/yI/BZEzYSWAJhG20a11/chP8IB0MiPqtTOmKQIxRfWwO28qfGQYBDsJVxGzGtSfqllY+9Fg3bhvqlekZdPb3ypWjIHEK+eeSGMY34Hx4w4fVNYNW2ZeqTjM8uNtSVzYsis8eAEUbnODHPkpHMGv9/4vkgdyCf3MtUUNOSaStwzEXFIuPM8PQ3w6v+6KBshNiHsiz3zUsBU5qwqX6m6czbHBaM7IOW4kDDfw3HwVwHt7TwhF9IVeVIDpqW21ERywK9HhYQ+7/gSx8Pi8YYj+z/Hk7pYrEnN9M9bor6vA312xVH/uH1hX058SC7zwp0VlHjWyGRmgKYlq70toe5DsL2sOtkBhKEeICMRWSBlCZ/b7954i/v+TqkNSpYF035rmyCwiz/wBRr/e/bs9aKvkM6BoRpwyXi1Fn6JmFHvaGONhe+mHlAC0k/Lr5tU8IjcveQ8fkCNtC6m30MkUQVSk8u2RYpWQlYCt2gkypXyoDM8UDlCMj1DRfQK3WibcvAR50nOX48xd3qUnPofCpl+7MIMAx0MAJb5DG3L7Ma7P5gkDlbxa/A3BbJj5Ssfhq8LmxJ0jjAJzwJ5ZpKGZfQPb37pAQ1xZG6RYvJM4JusVM8y/1AWv/KPW3aQfvtALvw4vPUBTbsmeVtY9DJ1hQ9jVD/KLZ5G43kgHSTKBVd8Xkq+QaxslqzOSK89dsKSQkeFqVHSK+ga/FFMFcDXrXywgpDDRKCNaT5my8FEShKbD2ECT6hBdnDBVpED5D4/VUN82btM7aL5dO7d2m8pwsNrCcyE1v27DS2aeYy0q94MY0X48RYfHngP00Tlx6vnJBZlijmlLaFYlQuhNtDy40bzyeYIIOruuowYQ73IEMnsWIQINJa5rE3nAO66wYgdKeuAs7KD6UZSnro2C+bCtaqEMNrS+JHL80dNqANZrIJMV5ePBCbKVA36S55MWSIYojH+X3gGThKr5mOFCwPvaZXogcWNRTdSVYmLzSZ8y9QeMG1p6JZszNggPfrYzHjv/PSx1GBJj1QIh9WzDWMP1qVsckS+jgLhrDgsZ+x1zF2pumJEtBBulItcPgmGa65VMm2DHPHtTjG1w/XZd0rJuPbqArfgUuq7KcU/NA3JyDnOaty16Mfom6VAjW1BdUNr1chz4SD0YeEAhIDl4dXS1bu98VISg+fqwpg3H4MTwBaJwGaMDAGPWgkufM+l0+/toOim0V2Peaf1jqKWHLJXbkg+rYrhP5yzUEuHP0GVJ9wuH/Z5u1+gIEBoHOF2XqHQMbpmddlu2M34afJLfNQ3JcU1NsOVfgaHIEZ655mDmvJBW33xiI7Lm/pYTcqb49dOkt8WKV4Vn7bndmXBAXaJhG9bBKp136A+DN41ESFE16scb6JmFPHyA0fn1FSVz0//2b7PEOp96vVfmnl4qCaEas3rZS3OwP/pV3RUH1DJrHDa0oN76Kr8fHkj5MeDUTmHOAfnEXl9giNPt2DTe7Ec2KQH+BfZUUiCvj/AcV2eBlCZlQYemkm8b3Goa2NK6GYrCm66zDS/XDYWK9UTJYrAHNpOS/y+UBeDDxlzAAkAT7Hs1cyOF3sv+AARoRowv9e9OA1XpoBr3NSszPCQ89rqMk/Po7EZaWQl6e3bNTpRR6bL4ppzeQFTAxXLnE/qgdzy/wGkEWB1nSc+66NLltFMR92kGvThPtH6xtLvMO8y2LsK6B4CCmO2oNba/W8fcJt7OJ7Ys5NHWu6GrwmEe41m2PCcL9SWxQo5OThqEPhykC1w/SbMmyJtKuBkEcEYpSFvViu/FJrOKdwaX1IfALJlOqwePlIJGzvHkaQe8mGi+FW+eP76ZBBje5bcZaRiHxiodzzFGL1i5EHPezbmRqdsN0lcelzPNDTW0K/nAZA6bqJ8JDLvN424VSW5Cl53NZddihGNwVFcB60DC6TlF3d2PWmWA1PhkBE+yxV8qi9lXIeA4w+xDp2WApZ/LiGvqks6Uh24QWDB5nf9Lptzm5bmYg69wAymmUj8lY+q/PdXTTHF78D2noSx7JywuUbmeV1jesksYn+msYYYuoNWhvI24qa6WmaSHFlsw73090qNSsMaFARN35EP/90GTlF6JrhvNyma3IJQY/XcGWM2WFVTb2xEGnpWKvWoprbqW1RoMqlOmJaUXY8qTcv+sbUyhcermny7A3HWbGYOvyyXY7C7cTlCmHcSuW0jWAUtqgj5k2FDZ9XYG4NsD50LbZ7YUBfFOvQAuoD+u/sbdsarNwPMxigcVZigqOXV78AcF0eZLkZvfVkAvM4RvTuWbH7FqAhjHfukfSQyofQD5ocDFevZhJtuyjXdnNRkkjy/JvcqWextIQEbNaPZVI6HwoDDTASK3vpQdifSGLEG+uwkXTWRuzVnGkjzqRsctOMLpM93LpLhgemcr4wSlu2HG3A4ighU4fLl0bJysXCSvz0sFbI4lx4FhWs1tiHJLE8SF8vWkYa14vwd8mot5hqzg7WVlnZkZIktxGnsBbLSnPLFhwSdztCmRQdhoMKJ5uJQWg85UH3I0WyUqMpRpVD/wasENHubdz6woET3QZTr81eCkI6jqIKJjW6DgX8PFo0iPvGgj4NZ2T/bmiw9AP+W3tOaobIZ705jPxR4G4kZjyENhHynw2BOR8QDbX3UXe1S/hxN7aMvWZ6WDXPJIA/8rSre+SNJaZsQXQ1frR+KHh/OavI0pTieI8FBqXZtJ4eGiekjioFLvTI81qP4dV5oRpFjFS0W5vuDQl0D4nfhrKo8Lib7PRJ0I6CPv1gb7xPFWWRz+Jqj6oN73JW057VJZStCcp7dSxuECpg+SxqxKQMHuvwTfdcLsH3aJsebeDGPncf8cdHCSIweOiWxtjYE/MBKouDRiGnj8RliowXWfnAfauyjNeFbZ22JGeL2b0WUl5KCj+ntOxlkyiBjWBdZo3eXoTMKgrFkw+I6cZEL7Okwyt2q9/uGT12mt7/eApDfqnYdlPcbSSKRYwgG6iLIVtoIIvM/SMMajgSM7sdgVtp+0Re50Z2H+ttCNDRU2tExQdIYpe7s1VMGeeBIGuxEU9Bt6yWfyOPccBbUE3uB94vsbgdXZuDze5+VXg0eZPFG8McvTJBSJ5YwmTcBOM7boHv/udqoIvs3ObES0zgLcaj0Ue4L7XcxjZLV0X5U5P1nPKWkhW4Fx6OQn2QJJlOEejOawqy3yP/C7PTlTLgdaV170FgpQAa4ntQyZVBmkfCLaWGg9CsWlNGf3PphW5bQsDKKcNSu2GfKxPmYa1Wahst/AAIXe+uu091RPlNHph0+AKztu8CaVuMtIeOgKGAbxsIf25DytZBOyChCIj58gWh7myaSQRYWUsb6urKBNQo66xEkNLp9ct92XuwNSOPp2BF2hKWsI4XCn23Rh+lo4XSGp5faaG2e0EaQxzbY+t5hKro99CXi/3PFWvSw0RnqW6+EDHVRQmtN3BhDu5A71gXfjtC0+yKWzSx4Sn2Inug8IvDilOr2eJiLPLcXii2DotEdh/lgkxSWAHYTmuoHIeiUDwzLQMwGWJqafl0tTxUSzuIZDBP7Ot5LOpy9H+yTvIBKPZUSR/EBKzokKGGHLX+stLT1HoYIiLXOkqeEaG5YNoWoGJZg+vxqZMts5bAwxN8Cb6BLbLr1CE1a0KNUDS9VxPqBr108zYe/eHxhZ1oqlKncp9ycEY4Mf+Hr4rspLLE1TII4/KlJEdwUUYiwvD2rHxLrVME2CLS+nKKsN0wWZO8KYvFgZ4D4t5+UEh0LP2HBbrICaSz1BEhu3MbboA0lTp9Y7/x1EgwH39+7sIN8i2idf35ZyUOHMX3v4LvlCqtO8T7kEH9762jyATGtWlcSZUhVm1seF/NwK8gQzw4BPVzK1PHaKPfkMYKaj1Ip6ePqyEUUKytQQdBQDVOh3RZTfZ+lu8Q6mjg/t6MSB2LemC5+Mv32RBKtstdi+SBBfvSxmQuG79JJIaOYg8pwip8UEkmw1wbK6XVXLjZtME42lIckB8zBEYkKD5f1vd3eTtKYqSJQYXqf3Cgut7b1FmBEeInm5dgtJlKECL+3u/CmSf3LNzDOFeWiVZEbVzrvCFSVQHiTKgb8KW9fRPxFxEVkzOEWnVPewXKbg/wQT4ydA6NswCbWRpZJIhlhFdJ4L1BAKVai1bo85v020IUUE4LUf4XLPj97lBI2wAxpVJsKgL+BXuGrzpbMIRteO7rHYaCgT7v5P7Bx1RNt3LV+9MZZ6bxcYHuUs4ZGWBqlEG06WazkRmi55JP25H5ueatEzo3wTAyxMmrgiDdD0h99WQWlK+okB3eKn7TSolSwgk4mwH/lHWRjzVimIe2QHLgsTvBMNOFY4ua8k4dJxNHjTX6mxgfyXh8nrV01n18d/jhbLdriJky4y8+9YgSkpqFkiw8yLxGGUaD2yf3sgPSXUz3Ybz08v6rGqjU76MX9x1/powaSw3fmrUjlE//rsQNzjAEmrcFR3AbXOy9i4c/he50/UUbZbnKNsmkJkbUMzZFnuUSZWkuPxsZXhCTs7oh7ImZY0GjNFLWjBq+EMwaN5EtV+TwADCKvkpPqxgpb8GBTgLLd92Un5IL5d3s+8zAC2G25C1dA65ep18TvoU69Rrv3dP7GlbZKoJiTuhkfrX69LoTCca2LE/NkiGhlt2rEiBVGDiEKZRfxn2UefF2cBx7AmZuhEbfdUsjgC5GtT72wObQH/bkp5xXx0j8O1uuElrH7U0kUkxVNAtdW+ayjyjIE9BSwj8XyutzY7gRzdM1XoA6xuQ9Wgo8pHR/2imMmVRlfH7dpBgJjDjTp8vDDiogW8W/j94+QQsIx7tPcjZJ91+yvo8ErXftMIoDiz+3gwbV92joIJ2CXPzabj9guozF/LDxo28lgFNLz/Jzwf3nEbI8Hwdrj+2QRaJurgygWYJEjgjqA1x6BkSXLkeWMYaoCa37vCXLbIWPq0Hybg7oJg+36AnkEGU+yIE+EjxUAq5pvjwa9p+FwxjKYmH2vaNh6TWCOevZEiIeke077Q0hE28xMNkCOY6MvYV7ye9aviGE7sgi0+rnIng1PdLgaIiS9s2gxeMeSioF9yLUqKiKLYLvhFhVESebtu7wycl635xTfBfYf2GNZLVnFm9fMkMVdtDmaxB+EKpUwqwCIxqrD9Uc0jA8VUrRno08Ozk2hKRcByd5radRDYZcfUChus3DaoSvx/bjwI9evXF7iGjgMD6dl8CaInkuqlanqKWCTXfPOLM6eEukE1quhmANH8XGrY67qhavg1dsXc7q56YgIpmZQkWH+BbojtLcWFL3KNiHQtWSj59ISKS1R7t6qKAWKo50mOBE3i/ZtAtDwBl5pEyN7j3+C7d8b/TaJ5ryMiy14wEQ6t8ATgOV9atcsyHGA+ZXQno9N3hnifffIX2Ez1TPgQaVGeNCIWiCcJoicscBkK5Ah9t4HsJWikssMXnNRsSC/cLGGUoEu2EcLw74hmYlHLNvigVcEwIU8M6RHLjAs1RwCJFLArgomnuLTk3VydONSTsnr/DVtubeSdDyrDctqbWk+ow9X9+kkkHyqybtGQuJzdtyQdeO9J54rBkShtwWzAobGJaLNQIdGT3DBv/se3iUeFUrXX4MyG6eFnBmCI1E/A/fI5V3D4nC80UI+Pq+Emf92B4UIr08Mj9tQAFYyLXhaKfrazQ9e6YqwKoaMqs3E3aPqls81lBE+/bNe/GFazdHon0fD+nuiErcDWi62T+SsSFQ6TenQIhQSKdlrP2yXreekIRewelGAL0bS3bHDHVEzZXzngTicYQEqgY4sPJ50QZMYaQgQs+Dco63MeR1eNMdf0CGapwD+lR1DN8EgGqJGq8kIJh4NKYnFUuUbsT/OId2YH0tuQ12nfD0ALUboVNicSNFbmfKh9IeJ71ovCVhqhWk7jCmAr88lhMZU458Bf7+55ACfCFVvvf2CUeVduKav94KOTpjxuzNg4hhbBMn54zfX+Wi/Yn0JQY4mz45SbELcxN0Ob4h2wsGVr1Q9dJWtu8hwsjMNCwvBjdblTkgVNgLvcNDOxmpGN/iPj9wlq6ydTJgD4c7QiFmcKLUF9uWNHEKlxbf0kgAW+TwpxXmP5fNx4AEQO8EGE2vVaWL7x06h51RgUUQ1otxKXICtSxcYG9TF6UYGWo9X/j8myE6xZBV3APCAxDkWrsTyjg5pN1BIbFnA7vf6Eq4M0poEAcwEM2jjnnvSVj8AyAX+2cSPPfwU04MIzlMehNO9Bk8/hFIXZ+q2cDDzPX35IUbwQyMIA4/3odrdCsoQwRWxRQUHTR/+Oo00t0KW6fNUtBeQ0mX6Vjo46Y8VmNn5eWu2sagXlj9V8jjyyEYPYQJ53uSfy33+nQaHGHYbNQeBiGmvpMZ+B5VkStgsUk+KmhHBXbfFM7RFVlpXvP5w3XwUgRYi5xEiJsv2j4Pioxg4IrwBDkMLtzDqybeFr3KQU92uJ/0UHKCkJ45cKlFAhzh1jq5OJQvlu0PJzSYAfqOakbaeMrFPAPFQQCRm/1WF6DZa5SdtC00KvXUMFXmTVTTLJUEX23mXlv+rEEDqisRb0Xw0Q0gKXQWNhGpNETgRSy5VBtw9dR4Hmqw3i/amIeMEooPn1iycZBLNpj+d9VX+SlmsrBqh7UlDvgTf6NsgyolQZur7n1eHnUcu2nH0p5Oq31SBb421YvKLFHcqD+VokCxHjj99zzy9lqxPLZIon6hHYuGGwy4h2agJwf6HbvjPX1jQ863MrA43qxKVCRJDYy57IP9w9cPNWPws1hHSg9pRn1sIoVPp9InwKoEV4PdiVJXukHwC5d6kWYH0nQ6GmXC3WjyjHs/eIHRWbGzWuuMJ0rpW2YKjkeHwBwGVwgyZivxRGltHazQuIiiv9CjYN1PkyOyTT8g2aCPly8TzoDJcnRKb3ieSFm3N1S5y6LX+cLOwXvU8sfbL2ReSmtMGB37T82nfNGgNomp9bqM2Gib4tdeiQO8BxY3og/0xvINioLMLOthiOJTNheTzz9S2cPlMoLnuTRS0sqBO+Xp+w3f+GcigGQAomvvtqBwCPNYirbHhgkTiWv+vgN8H9TmbFnEepJ8gV+kJZuaGVOHnTkyIL3aqT4qhIVDuH2dSrP840/B5RBd+j8ZEvYiHTHcQ/aCpTZGhQAA7LH+9IbppmjUpDQqCraliOEMBzMO//nyFKNmiQBEGsVD7fqPyrtfaHWCdMPYEsNjSzqDl26Sk/dtSe/PoSYLnrxBF8LxLIqAsUpoaKuzkQZqJsvN2J/CZXpEu0iUbNmwGDR8mYBMEQFgdejBBI3NIhTzgakYOqucMXowiCfU/6ZsmgPh0nimivXo8l54bYlynx9J3/dpVCUdOsxibL8/zjTSnPSUih25uwIJHoPEJDCysk4iYsxhgyJQrwH8Is3ONyILIzMgzXyMgk+JDsHIHDoaIhYD9yAauCT0dDAFwlH/IZ9o+Mr6eCy5a7M3oYYFzrUakLBL2P5hIF+pUaNAPdVVbr4MjZ+WJSxZDZQ0X64+95h5OkrbXZmVq0AXcogqRzWj67ACMAGXd8GhBsjqtf8wdJDFmQWGheZS80jvuGVsCg/Myty9xtPiwCfEQjWY43cq07kEW1phE12kG+glPTRb+vKYQWQEOhR9e3SL6wlbMBw0LYT8CvPDav8MEgz3MaU2eP2Bq/J0hjuG/vlA7Ymp/bEuvCA+YrBKBzNg+sR18H4x7zIHOpdtSeQG1xUhaZI7UH4+FWYJDn2SwJ9YFpK6oNiJZo6bFJ8LiNfU1J5KJd6zeum9t3xP8AloKzHGKLkbl5cLVuo9IASXAxwXph4gT7DPZ5L06k8waDqjtcdspNgrfs9KHdPscFYMbB1T8HHEOx92rsiEGYZjaUkiQKzSJObhT+4zxrr79P2r7dJ+6Dolg1yKfjjuQa2JUaCd6b4qmpXnxxrbX8+WIYJL8nrZiJCtPumPdlIK1sEOp3AUwu3QUMfuCWk4wJ+5rOLxXhqFCQD6Pezf5/gI5EyUsqOtF1cgY7lHTpenWY42O6M+JguI8ElWUU/0SIH3BXjXn1YZ9vq5J58jagAtuZ25U4Z4FLM5HTwYo+qQcFo5JsOVLdzKRvHCqPsWccel03JKvibQF0CZm8gr+JDvmFtqBxDqSrjcvLp3fuFlXBCB6FP/hrsS9AAGpqM1fRL5/r/bYjBjePLoPVnFA4TD8pjlwUfr2pdmL0IYjIdUFdYWz75TiWLvKtw/60JJTGI+v8jeHgUgN7Jzv3u++EUz8Z4tsH0bBJj19VTbwS8EYdrcfT2J5Si2gxEM+CxpkARAulbi3jv/5wgtVyDR6qP7yvaDoqxCbgDln1I3y01o0lBXOlxMn4w62zlxNc+2PXYIQ9AMg8RqNu4EterBw21neWXYm0TJkHItRllyz4qmtdVvK4S3KxMIGA2XuVQ8jfXmO6cpaM7HjPdz/fLvQSBM7VmbJW/3j3V/rRtjmP0cExklf8dCfwBtV4AXDEvTCf2kg996fVBnptb+FYfE7TSW1Bz7UgYg772fUGiYxaU5PJTc42MjEFj8COcIs7Uk1/NVYBTV2OjltBv8o/G51dWLYlKQsDJIUzK+OuNz92B7HhWGeeKRvDpsLQSnvbLi9J/01zaMnhkODDmcc3TwxtN7ByRmXIrniDR89C8RQkUcqBuqPJxWQeTApNUc2OsgDtYqDn3LePeUdagZyME7uiUvWR1BXVfFsCyp6ujM8m8zFnZv2h0CJu9WmGiepJd5pmhyRbsVzY6Acgn6KjnEwuAANCOc9eLpgJ7+StJUNEBImddr9pPUS/yqTUVyiarIQo2paEVWkPp3wsa7RnQR13q4wbhiQ9n2h8lEBu8B68zHT60Z6xRzCMXKVyFxtslzGObnYdRUCBbuJQhZV7glLJCSSThdZwZU42YjfaUsrlVnYHeFMeXnInVY6DZraqkkkR4+qF70QbsURW/v5iRpRe9DEXHv1Jgz6zJ2km4VHfS+AWNarwDqQomZXC+WGqzM2suU/Qzior1/V28pniGlhsFtfXy/enserAfBhF2JbhgUbOaQSXRo65rujEXK6ut+X9FKMqLbpH6p9j0G0OoEs97v3AxSYxhkcWcCETYoBrwt9S/x/QUDjraTzjIlJ3AKMJvzRX2E1KpTVLxaFnQ2SuJxsO/HtQHk5gj2Um4/Gds04w9ztjaj6atCDwZhVr1kEQIGGQx5niA5wdYZMiRilTz0H4QMCRzukvS0H+3pBX34Cyn00q6NBWw5sc6VHvUsAEbXLU4iRa8+U8z5Y4pgemNw0YwOS6tm6y/lBPYd9RSb2qQH1SPqYcIcqJLCHZESNjSXf2LOo243k4gLsywpHStTMxlzR/GleRmBVmZs3qQa4bUXUdZREcCpJEaCFh/iil4DAdxBZBDazmZGNlS4aeU6JlB4/Gdf7vbooPL2GnhBsw8mkI+E8PU310zyjFYH2v6R8JrFyqwBHFi9P2gcz6O3Gcm36q4reMQrVEs3rmBOYwadxxUsUb3UJ2Gt/dCsttBiMjUW7k2q0zhXiPow/wkMLNtbOdJczzDbjlcaExrOusOakIHPghSSgl0d9pu/LTbeIk7ibQc9wzdRBT7cH87BbaBgFyX+mm3CThRCKcAJ7RYQj0G5ylP92Td7farQfUIoDK5ZmwjtlzJy1NYo313l4EIrkjISId1QOVAxcawBQPgtexue2s5yBoOTk2WnoXnkFlmd0L5JsNVx/hfj/pcOKqAhlxZ0b4NzvUvpzjf2ok8hC+XEEefoUqV0v5m3MS0xiJVeLTrVEYi8uKMKfgELKMCKcElc5+eNbznyjSzArbSb5kX5tMeUAV8oAsTUhdU7wwNYbW1ZzZDjflJqzbhWjxsNriLTmoX9tMBnP6A8/IgF7AY6R7w1icwdIGEQJip2yylsXUhodMEGVjShmUwP6UqkKfIebT5pAFdgsifrJOXVAZ9UX4iDWW3I0tllCpA6TJhD2H6Jb7G1UQDvFSFN+5tBFZowVrsxHWEGO2Ng9HCtLbw=="/>
  <p:tag name="MEKKOXMLTAGS" val="1"/>
</p:tagLst>
</file>

<file path=ppt/theme/theme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1.08.16 - Treasury Update" id="{DBAD9451-4D60-46FA-BE33-469E2F67F19B}" vid="{33A0177D-F27B-43EC-951C-699B98987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96354B8BDED4448FEBF3FFDAC60C18" ma:contentTypeVersion="2" ma:contentTypeDescription="Create a new document." ma:contentTypeScope="" ma:versionID="0ffc2dc4191fa9cb06781b06fe5bebb2">
  <xsd:schema xmlns:xsd="http://www.w3.org/2001/XMLSchema" xmlns:xs="http://www.w3.org/2001/XMLSchema" xmlns:p="http://schemas.microsoft.com/office/2006/metadata/properties" xmlns:ns2="d907f664-4418-4475-8a9b-5910fb2fdb2b" targetNamespace="http://schemas.microsoft.com/office/2006/metadata/properties" ma:root="true" ma:fieldsID="341c587a6b39be732fe300b8e19abeb1" ns2:_="">
    <xsd:import namespace="d907f664-4418-4475-8a9b-5910fb2fdb2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07f664-4418-4475-8a9b-5910fb2fdb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BE26218-04E1-4122-9049-810C154774A0}"/>
</file>

<file path=customXml/itemProps2.xml><?xml version="1.0" encoding="utf-8"?>
<ds:datastoreItem xmlns:ds="http://schemas.openxmlformats.org/officeDocument/2006/customXml" ds:itemID="{7A01012C-4A8D-4DF2-8623-14458BB16C95}"/>
</file>

<file path=customXml/itemProps3.xml><?xml version="1.0" encoding="utf-8"?>
<ds:datastoreItem xmlns:ds="http://schemas.openxmlformats.org/officeDocument/2006/customXml" ds:itemID="{6185BEAC-FE46-4140-8FE2-7465B3DCE933}"/>
</file>

<file path=docProps/app.xml><?xml version="1.0" encoding="utf-8"?>
<Properties xmlns="http://schemas.openxmlformats.org/officeDocument/2006/extended-properties" xmlns:vt="http://schemas.openxmlformats.org/officeDocument/2006/docPropsVTypes">
  <Template>11.08.16 - Treasury Update</Template>
  <TotalTime>1045</TotalTime>
  <Words>800</Words>
  <Application>Microsoft Office PowerPoint</Application>
  <PresentationFormat>On-screen Show (4:3)</PresentationFormat>
  <Paragraphs>109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ＭＳ Ｐゴシック</vt:lpstr>
      <vt:lpstr>Arial</vt:lpstr>
      <vt:lpstr>Calibri</vt:lpstr>
      <vt:lpstr>Garamond</vt:lpstr>
      <vt:lpstr>Symbol</vt:lpstr>
      <vt:lpstr>Verdana</vt:lpstr>
      <vt:lpstr>MBTA Black Line - Blue Title Template</vt:lpstr>
      <vt:lpstr>Refunding of 2017A Direct Purchase</vt:lpstr>
      <vt:lpstr>PowerPoint Presentation</vt:lpstr>
      <vt:lpstr>PowerPoint Presentation</vt:lpstr>
      <vt:lpstr>Short-term interest rates are trending higher in 2018</vt:lpstr>
      <vt:lpstr>Background on 2017A Debt Restructuring</vt:lpstr>
      <vt:lpstr>Executed a Competitive RFR Solicitation</vt:lpstr>
      <vt:lpstr>RFR Responses and Evaluation</vt:lpstr>
      <vt:lpstr>Financial Advisor’s Recommendation</vt:lpstr>
      <vt:lpstr>Additional Considerations</vt:lpstr>
      <vt:lpstr>Request for Recommendation and Vo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quidity Facility Procurement</dc:title>
  <dc:creator>Brandley, Paul</dc:creator>
  <cp:lastModifiedBy>Markowitz, John</cp:lastModifiedBy>
  <cp:revision>114</cp:revision>
  <cp:lastPrinted>2018-05-09T13:26:24Z</cp:lastPrinted>
  <dcterms:created xsi:type="dcterms:W3CDTF">2016-12-06T15:29:34Z</dcterms:created>
  <dcterms:modified xsi:type="dcterms:W3CDTF">2018-05-11T18:3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96354B8BDED4448FEBF3FFDAC60C18</vt:lpwstr>
  </property>
</Properties>
</file>